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364" r:id="rId2"/>
    <p:sldId id="398" r:id="rId3"/>
    <p:sldId id="402" r:id="rId4"/>
    <p:sldId id="399" r:id="rId5"/>
    <p:sldId id="404" r:id="rId6"/>
    <p:sldId id="400" r:id="rId7"/>
    <p:sldId id="401" r:id="rId8"/>
    <p:sldId id="403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60A9"/>
    <a:srgbClr val="002068"/>
    <a:srgbClr val="F2F2F2"/>
    <a:srgbClr val="A7A8AA"/>
    <a:srgbClr val="FFC100"/>
    <a:srgbClr val="D0D0D0"/>
    <a:srgbClr val="50E2D0"/>
    <a:srgbClr val="8F2DDE"/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86" autoAdjust="0"/>
    <p:restoredTop sz="94575" autoAdjust="0"/>
  </p:normalViewPr>
  <p:slideViewPr>
    <p:cSldViewPr snapToGrid="0" showGuides="1">
      <p:cViewPr varScale="1">
        <p:scale>
          <a:sx n="74" d="100"/>
          <a:sy n="74" d="100"/>
        </p:scale>
        <p:origin x="252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1" d="100"/>
          <a:sy n="61" d="100"/>
        </p:scale>
        <p:origin x="3182" y="3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905393C-279E-C9B0-6414-753F3C5AC3C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E548BD-3BF5-C546-597C-CDDEBB506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5D6D29-B0AC-4F17-B48C-0DD4C2CD20D2}" type="datetimeFigureOut">
              <a:rPr lang="en-GB" smtClean="0"/>
              <a:t>05/01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99E39-A58A-EE61-F03E-E373F660B4B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CA5418-7089-7ED5-A1DA-A7670647F24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EE6E49-F2EA-4DFD-BA31-A3CAB8E0D7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315016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3B3FB0-12FC-4420-880E-3E7AA3DB0BD4}" type="datetimeFigureOut">
              <a:rPr lang="en-GB" smtClean="0"/>
              <a:t>05/01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5F80CA-0B62-4806-84EF-87D648B4EC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5538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9040087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s and a black background&#10;&#10;Description automatically generated">
            <a:extLst>
              <a:ext uri="{FF2B5EF4-FFF2-40B4-BE49-F238E27FC236}">
                <a16:creationId xmlns:a16="http://schemas.microsoft.com/office/drawing/2014/main" id="{BA64FC08-ECEA-0F90-AB3C-91D0BF3F30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2433776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6B533BC5-90F7-C111-CF8F-08F5D15E7D83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8286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728135 w 2901950"/>
              <a:gd name="connsiteY7" fmla="*/ 390613 h 1638300"/>
              <a:gd name="connsiteX8" fmla="*/ 2641228 w 2901950"/>
              <a:gd name="connsiteY8" fmla="*/ 511969 h 1638300"/>
              <a:gd name="connsiteX9" fmla="*/ 2588328 w 2901950"/>
              <a:gd name="connsiteY9" fmla="*/ 656079 h 1638300"/>
              <a:gd name="connsiteX10" fmla="*/ 2459856 w 2901950"/>
              <a:gd name="connsiteY10" fmla="*/ 982222 h 1638300"/>
              <a:gd name="connsiteX11" fmla="*/ 2433406 w 2901950"/>
              <a:gd name="connsiteY11" fmla="*/ 1054277 h 1638300"/>
              <a:gd name="connsiteX12" fmla="*/ 2335163 w 2901950"/>
              <a:gd name="connsiteY12" fmla="*/ 1308365 h 1638300"/>
              <a:gd name="connsiteX13" fmla="*/ 2320049 w 2901950"/>
              <a:gd name="connsiteY13" fmla="*/ 1350081 h 1638300"/>
              <a:gd name="connsiteX14" fmla="*/ 2225584 w 2901950"/>
              <a:gd name="connsiteY14" fmla="*/ 1596584 h 1638300"/>
              <a:gd name="connsiteX15" fmla="*/ 2214248 w 2901950"/>
              <a:gd name="connsiteY15" fmla="*/ 1638300 h 1638300"/>
              <a:gd name="connsiteX16" fmla="*/ 1741926 w 2901950"/>
              <a:gd name="connsiteY16" fmla="*/ 1638300 h 1638300"/>
              <a:gd name="connsiteX17" fmla="*/ 1160024 w 2901950"/>
              <a:gd name="connsiteY17" fmla="*/ 1638300 h 1638300"/>
              <a:gd name="connsiteX18" fmla="*/ 581902 w 2901950"/>
              <a:gd name="connsiteY18" fmla="*/ 1638300 h 1638300"/>
              <a:gd name="connsiteX19" fmla="*/ 0 w 2901950"/>
              <a:gd name="connsiteY19" fmla="*/ 1638300 h 1638300"/>
              <a:gd name="connsiteX20" fmla="*/ 0 w 2901950"/>
              <a:gd name="connsiteY20" fmla="*/ 1308365 h 1638300"/>
              <a:gd name="connsiteX21" fmla="*/ 0 w 2901950"/>
              <a:gd name="connsiteY21" fmla="*/ 982222 h 1638300"/>
              <a:gd name="connsiteX22" fmla="*/ 0 w 2901950"/>
              <a:gd name="connsiteY22" fmla="*/ 656079 h 1638300"/>
              <a:gd name="connsiteX23" fmla="*/ 0 w 2901950"/>
              <a:gd name="connsiteY23" fmla="*/ 326143 h 1638300"/>
              <a:gd name="connsiteX24" fmla="*/ 0 w 2901950"/>
              <a:gd name="connsiteY24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841493" y="329936"/>
                  <a:pt x="2777257" y="352690"/>
                  <a:pt x="2728135" y="390613"/>
                </a:cubicBezTo>
                <a:cubicBezTo>
                  <a:pt x="2690350" y="424745"/>
                  <a:pt x="2660121" y="466461"/>
                  <a:pt x="2641228" y="511969"/>
                </a:cubicBezTo>
                <a:cubicBezTo>
                  <a:pt x="2641228" y="511969"/>
                  <a:pt x="2641228" y="511969"/>
                  <a:pt x="2588328" y="656079"/>
                </a:cubicBezTo>
                <a:cubicBezTo>
                  <a:pt x="2588328" y="656079"/>
                  <a:pt x="2588328" y="656079"/>
                  <a:pt x="2459856" y="982222"/>
                </a:cubicBezTo>
                <a:cubicBezTo>
                  <a:pt x="2459856" y="982222"/>
                  <a:pt x="2459856" y="982222"/>
                  <a:pt x="2433406" y="1054277"/>
                </a:cubicBezTo>
                <a:cubicBezTo>
                  <a:pt x="2433406" y="1054277"/>
                  <a:pt x="2433406" y="1054277"/>
                  <a:pt x="2335163" y="1308365"/>
                </a:cubicBezTo>
                <a:cubicBezTo>
                  <a:pt x="2335163" y="1308365"/>
                  <a:pt x="2335163" y="1308365"/>
                  <a:pt x="2320049" y="1350081"/>
                </a:cubicBezTo>
                <a:cubicBezTo>
                  <a:pt x="2320049" y="1350081"/>
                  <a:pt x="2320049" y="1350081"/>
                  <a:pt x="2225584" y="1596584"/>
                </a:cubicBezTo>
                <a:cubicBezTo>
                  <a:pt x="2221806" y="1607961"/>
                  <a:pt x="2218027" y="1623131"/>
                  <a:pt x="2214248" y="1638300"/>
                </a:cubicBezTo>
                <a:cubicBezTo>
                  <a:pt x="2214248" y="1638300"/>
                  <a:pt x="2214248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08365"/>
                </a:cubicBezTo>
                <a:cubicBezTo>
                  <a:pt x="0" y="1308365"/>
                  <a:pt x="0" y="1308365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7" name="Picture 6" descr="A colorful circles and a black background&#10;&#10;Description automatically generated">
            <a:extLst>
              <a:ext uri="{FF2B5EF4-FFF2-40B4-BE49-F238E27FC236}">
                <a16:creationId xmlns:a16="http://schemas.microsoft.com/office/drawing/2014/main" id="{E3B2E7AF-7F6F-7319-5894-01BE4B1346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4007179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4A0AA0A-BF81-ACA8-E016-4EE23C249B7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8286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728135 w 2901950"/>
              <a:gd name="connsiteY7" fmla="*/ 390613 h 1638300"/>
              <a:gd name="connsiteX8" fmla="*/ 2641228 w 2901950"/>
              <a:gd name="connsiteY8" fmla="*/ 511969 h 1638300"/>
              <a:gd name="connsiteX9" fmla="*/ 2588328 w 2901950"/>
              <a:gd name="connsiteY9" fmla="*/ 656079 h 1638300"/>
              <a:gd name="connsiteX10" fmla="*/ 2459856 w 2901950"/>
              <a:gd name="connsiteY10" fmla="*/ 982222 h 1638300"/>
              <a:gd name="connsiteX11" fmla="*/ 2433406 w 2901950"/>
              <a:gd name="connsiteY11" fmla="*/ 1054277 h 1638300"/>
              <a:gd name="connsiteX12" fmla="*/ 2335163 w 2901950"/>
              <a:gd name="connsiteY12" fmla="*/ 1308365 h 1638300"/>
              <a:gd name="connsiteX13" fmla="*/ 2320049 w 2901950"/>
              <a:gd name="connsiteY13" fmla="*/ 1350081 h 1638300"/>
              <a:gd name="connsiteX14" fmla="*/ 2225584 w 2901950"/>
              <a:gd name="connsiteY14" fmla="*/ 1596584 h 1638300"/>
              <a:gd name="connsiteX15" fmla="*/ 2214248 w 2901950"/>
              <a:gd name="connsiteY15" fmla="*/ 1638300 h 1638300"/>
              <a:gd name="connsiteX16" fmla="*/ 1741926 w 2901950"/>
              <a:gd name="connsiteY16" fmla="*/ 1638300 h 1638300"/>
              <a:gd name="connsiteX17" fmla="*/ 1160024 w 2901950"/>
              <a:gd name="connsiteY17" fmla="*/ 1638300 h 1638300"/>
              <a:gd name="connsiteX18" fmla="*/ 581902 w 2901950"/>
              <a:gd name="connsiteY18" fmla="*/ 1638300 h 1638300"/>
              <a:gd name="connsiteX19" fmla="*/ 0 w 2901950"/>
              <a:gd name="connsiteY19" fmla="*/ 1638300 h 1638300"/>
              <a:gd name="connsiteX20" fmla="*/ 0 w 2901950"/>
              <a:gd name="connsiteY20" fmla="*/ 1308365 h 1638300"/>
              <a:gd name="connsiteX21" fmla="*/ 0 w 2901950"/>
              <a:gd name="connsiteY21" fmla="*/ 982222 h 1638300"/>
              <a:gd name="connsiteX22" fmla="*/ 0 w 2901950"/>
              <a:gd name="connsiteY22" fmla="*/ 656079 h 1638300"/>
              <a:gd name="connsiteX23" fmla="*/ 0 w 2901950"/>
              <a:gd name="connsiteY23" fmla="*/ 326143 h 1638300"/>
              <a:gd name="connsiteX24" fmla="*/ 0 w 2901950"/>
              <a:gd name="connsiteY24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841493" y="329936"/>
                  <a:pt x="2777257" y="352690"/>
                  <a:pt x="2728135" y="390613"/>
                </a:cubicBezTo>
                <a:cubicBezTo>
                  <a:pt x="2690350" y="424745"/>
                  <a:pt x="2660121" y="466461"/>
                  <a:pt x="2641228" y="511969"/>
                </a:cubicBezTo>
                <a:cubicBezTo>
                  <a:pt x="2641228" y="511969"/>
                  <a:pt x="2641228" y="511969"/>
                  <a:pt x="2588328" y="656079"/>
                </a:cubicBezTo>
                <a:cubicBezTo>
                  <a:pt x="2588328" y="656079"/>
                  <a:pt x="2588328" y="656079"/>
                  <a:pt x="2459856" y="982222"/>
                </a:cubicBezTo>
                <a:cubicBezTo>
                  <a:pt x="2459856" y="982222"/>
                  <a:pt x="2459856" y="982222"/>
                  <a:pt x="2433406" y="1054277"/>
                </a:cubicBezTo>
                <a:cubicBezTo>
                  <a:pt x="2433406" y="1054277"/>
                  <a:pt x="2433406" y="1054277"/>
                  <a:pt x="2335163" y="1308365"/>
                </a:cubicBezTo>
                <a:cubicBezTo>
                  <a:pt x="2335163" y="1308365"/>
                  <a:pt x="2335163" y="1308365"/>
                  <a:pt x="2320049" y="1350081"/>
                </a:cubicBezTo>
                <a:cubicBezTo>
                  <a:pt x="2320049" y="1350081"/>
                  <a:pt x="2320049" y="1350081"/>
                  <a:pt x="2225584" y="1596584"/>
                </a:cubicBezTo>
                <a:cubicBezTo>
                  <a:pt x="2221806" y="1607961"/>
                  <a:pt x="2218027" y="1623131"/>
                  <a:pt x="2214248" y="1638300"/>
                </a:cubicBezTo>
                <a:cubicBezTo>
                  <a:pt x="2214248" y="1638300"/>
                  <a:pt x="2214248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08365"/>
                </a:cubicBezTo>
                <a:cubicBezTo>
                  <a:pt x="0" y="1308365"/>
                  <a:pt x="0" y="1308365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4" name="Picture 3" descr="A colorful circles and a black background&#10;&#10;Description automatically generated">
            <a:extLst>
              <a:ext uri="{FF2B5EF4-FFF2-40B4-BE49-F238E27FC236}">
                <a16:creationId xmlns:a16="http://schemas.microsoft.com/office/drawing/2014/main" id="{3A6839E8-C4DA-B75E-95D4-3470D67610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0" y="0"/>
            <a:ext cx="3048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986068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3E5D2A65-B6A1-B307-849A-B908EBCF9E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8842" y="4776791"/>
            <a:ext cx="3348165" cy="2081210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FA25391-214F-BAE1-D237-9A5DA6730DE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428529" y="0"/>
            <a:ext cx="6763471" cy="6858000"/>
          </a:xfrm>
          <a:custGeom>
            <a:avLst/>
            <a:gdLst>
              <a:gd name="connsiteX0" fmla="*/ 377459 w 3359817"/>
              <a:gd name="connsiteY0" fmla="*/ 0 h 3406775"/>
              <a:gd name="connsiteX1" fmla="*/ 3359817 w 3359817"/>
              <a:gd name="connsiteY1" fmla="*/ 0 h 3406775"/>
              <a:gd name="connsiteX2" fmla="*/ 3359817 w 3359817"/>
              <a:gd name="connsiteY2" fmla="*/ 3406775 h 3406775"/>
              <a:gd name="connsiteX3" fmla="*/ 2223681 w 3359817"/>
              <a:gd name="connsiteY3" fmla="*/ 3406775 h 3406775"/>
              <a:gd name="connsiteX4" fmla="*/ 740392 w 3359817"/>
              <a:gd name="connsiteY4" fmla="*/ 2562967 h 3406775"/>
              <a:gd name="connsiteX5" fmla="*/ 46086 w 3359817"/>
              <a:gd name="connsiteY5" fmla="*/ 1939969 h 3406775"/>
              <a:gd name="connsiteX6" fmla="*/ 235442 w 3359817"/>
              <a:gd name="connsiteY6" fmla="*/ 1033073 h 3406775"/>
              <a:gd name="connsiteX7" fmla="*/ 424798 w 3359817"/>
              <a:gd name="connsiteY7" fmla="*/ 126177 h 3406775"/>
              <a:gd name="connsiteX8" fmla="*/ 377459 w 3359817"/>
              <a:gd name="connsiteY8" fmla="*/ 0 h 340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9817" h="3406775">
                <a:moveTo>
                  <a:pt x="377459" y="0"/>
                </a:moveTo>
                <a:lnTo>
                  <a:pt x="3359817" y="0"/>
                </a:lnTo>
                <a:cubicBezTo>
                  <a:pt x="3359817" y="3406775"/>
                  <a:pt x="3359817" y="3406775"/>
                  <a:pt x="3359817" y="3406775"/>
                </a:cubicBezTo>
                <a:cubicBezTo>
                  <a:pt x="2223681" y="3406775"/>
                  <a:pt x="2223681" y="3406775"/>
                  <a:pt x="2223681" y="3406775"/>
                </a:cubicBezTo>
                <a:cubicBezTo>
                  <a:pt x="1837079" y="2980928"/>
                  <a:pt x="1324239" y="2681258"/>
                  <a:pt x="740392" y="2562967"/>
                </a:cubicBezTo>
                <a:cubicBezTo>
                  <a:pt x="416908" y="2491993"/>
                  <a:pt x="148654" y="2255411"/>
                  <a:pt x="46086" y="1939969"/>
                </a:cubicBezTo>
                <a:cubicBezTo>
                  <a:pt x="-56482" y="1624527"/>
                  <a:pt x="14527" y="1277541"/>
                  <a:pt x="235442" y="1033073"/>
                </a:cubicBezTo>
                <a:cubicBezTo>
                  <a:pt x="456358" y="788605"/>
                  <a:pt x="535256" y="441619"/>
                  <a:pt x="424798" y="126177"/>
                </a:cubicBezTo>
                <a:cubicBezTo>
                  <a:pt x="416908" y="78861"/>
                  <a:pt x="393239" y="39430"/>
                  <a:pt x="377459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51039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9899700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ack and orange gradient&#10;&#10;Description automatically generated">
            <a:extLst>
              <a:ext uri="{FF2B5EF4-FFF2-40B4-BE49-F238E27FC236}">
                <a16:creationId xmlns:a16="http://schemas.microsoft.com/office/drawing/2014/main" id="{F9DFBF29-178B-7AE6-A802-BD30CC89A1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6535" y="5010151"/>
            <a:ext cx="3449872" cy="1851438"/>
          </a:xfrm>
          <a:prstGeom prst="rect">
            <a:avLst/>
          </a:prstGeom>
        </p:spPr>
      </p:pic>
      <p:sp>
        <p:nvSpPr>
          <p:cNvPr id="59" name="Picture Placeholder 58">
            <a:extLst>
              <a:ext uri="{FF2B5EF4-FFF2-40B4-BE49-F238E27FC236}">
                <a16:creationId xmlns:a16="http://schemas.microsoft.com/office/drawing/2014/main" id="{35ABE09A-64D7-D976-53AA-CE8331A5F129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397535" y="0"/>
            <a:ext cx="6794466" cy="6858000"/>
          </a:xfrm>
          <a:custGeom>
            <a:avLst/>
            <a:gdLst>
              <a:gd name="connsiteX0" fmla="*/ 0 w 2716213"/>
              <a:gd name="connsiteY0" fmla="*/ 0 h 2741612"/>
              <a:gd name="connsiteX1" fmla="*/ 2716213 w 2716213"/>
              <a:gd name="connsiteY1" fmla="*/ 0 h 2741612"/>
              <a:gd name="connsiteX2" fmla="*/ 2716213 w 2716213"/>
              <a:gd name="connsiteY2" fmla="*/ 2741612 h 2741612"/>
              <a:gd name="connsiteX3" fmla="*/ 1821386 w 2716213"/>
              <a:gd name="connsiteY3" fmla="*/ 2741612 h 2741612"/>
              <a:gd name="connsiteX4" fmla="*/ 1808693 w 2716213"/>
              <a:gd name="connsiteY4" fmla="*/ 2468720 h 2741612"/>
              <a:gd name="connsiteX5" fmla="*/ 1707153 w 2716213"/>
              <a:gd name="connsiteY5" fmla="*/ 2221214 h 2741612"/>
              <a:gd name="connsiteX6" fmla="*/ 1497725 w 2716213"/>
              <a:gd name="connsiteY6" fmla="*/ 2062556 h 2741612"/>
              <a:gd name="connsiteX7" fmla="*/ 1237527 w 2716213"/>
              <a:gd name="connsiteY7" fmla="*/ 2030824 h 2741612"/>
              <a:gd name="connsiteX8" fmla="*/ 1104255 w 2716213"/>
              <a:gd name="connsiteY8" fmla="*/ 2062556 h 2741612"/>
              <a:gd name="connsiteX9" fmla="*/ 990022 w 2716213"/>
              <a:gd name="connsiteY9" fmla="*/ 2132365 h 2741612"/>
              <a:gd name="connsiteX10" fmla="*/ 742516 w 2716213"/>
              <a:gd name="connsiteY10" fmla="*/ 2233906 h 2741612"/>
              <a:gd name="connsiteX11" fmla="*/ 482318 w 2716213"/>
              <a:gd name="connsiteY11" fmla="*/ 2195828 h 2741612"/>
              <a:gd name="connsiteX12" fmla="*/ 272891 w 2716213"/>
              <a:gd name="connsiteY12" fmla="*/ 2037170 h 2741612"/>
              <a:gd name="connsiteX13" fmla="*/ 171350 w 2716213"/>
              <a:gd name="connsiteY13" fmla="*/ 1789664 h 2741612"/>
              <a:gd name="connsiteX14" fmla="*/ 203082 w 2716213"/>
              <a:gd name="connsiteY14" fmla="*/ 1529464 h 2741612"/>
              <a:gd name="connsiteX15" fmla="*/ 368085 w 2716213"/>
              <a:gd name="connsiteY15" fmla="*/ 1320036 h 2741612"/>
              <a:gd name="connsiteX16" fmla="*/ 526742 w 2716213"/>
              <a:gd name="connsiteY16" fmla="*/ 1104261 h 2741612"/>
              <a:gd name="connsiteX17" fmla="*/ 558474 w 2716213"/>
              <a:gd name="connsiteY17" fmla="*/ 844061 h 2741612"/>
              <a:gd name="connsiteX18" fmla="*/ 456933 w 2716213"/>
              <a:gd name="connsiteY18" fmla="*/ 596555 h 2741612"/>
              <a:gd name="connsiteX19" fmla="*/ 0 w 2716213"/>
              <a:gd name="connsiteY19" fmla="*/ 0 h 2741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716213" h="2741612">
                <a:moveTo>
                  <a:pt x="0" y="0"/>
                </a:moveTo>
                <a:lnTo>
                  <a:pt x="2716213" y="0"/>
                </a:lnTo>
                <a:cubicBezTo>
                  <a:pt x="2716213" y="2741612"/>
                  <a:pt x="2716213" y="2741612"/>
                  <a:pt x="2716213" y="2741612"/>
                </a:cubicBezTo>
                <a:cubicBezTo>
                  <a:pt x="1821386" y="2741612"/>
                  <a:pt x="1821386" y="2741612"/>
                  <a:pt x="1821386" y="2741612"/>
                </a:cubicBezTo>
                <a:cubicBezTo>
                  <a:pt x="1827732" y="2652764"/>
                  <a:pt x="1821386" y="2557569"/>
                  <a:pt x="1808693" y="2468720"/>
                </a:cubicBezTo>
                <a:cubicBezTo>
                  <a:pt x="1796001" y="2373525"/>
                  <a:pt x="1764269" y="2291023"/>
                  <a:pt x="1707153" y="2221214"/>
                </a:cubicBezTo>
                <a:cubicBezTo>
                  <a:pt x="1656382" y="2151404"/>
                  <a:pt x="1580227" y="2094287"/>
                  <a:pt x="1497725" y="2062556"/>
                </a:cubicBezTo>
                <a:cubicBezTo>
                  <a:pt x="1415223" y="2030824"/>
                  <a:pt x="1326375" y="2018131"/>
                  <a:pt x="1237527" y="2030824"/>
                </a:cubicBezTo>
                <a:cubicBezTo>
                  <a:pt x="1186757" y="2037170"/>
                  <a:pt x="1142333" y="2043517"/>
                  <a:pt x="1104255" y="2062556"/>
                </a:cubicBezTo>
                <a:cubicBezTo>
                  <a:pt x="1059831" y="2081594"/>
                  <a:pt x="1021753" y="2100633"/>
                  <a:pt x="990022" y="2132365"/>
                </a:cubicBezTo>
                <a:cubicBezTo>
                  <a:pt x="920213" y="2183136"/>
                  <a:pt x="837711" y="2221214"/>
                  <a:pt x="742516" y="2233906"/>
                </a:cubicBezTo>
                <a:cubicBezTo>
                  <a:pt x="653668" y="2246599"/>
                  <a:pt x="564820" y="2227560"/>
                  <a:pt x="482318" y="2195828"/>
                </a:cubicBezTo>
                <a:cubicBezTo>
                  <a:pt x="399817" y="2164097"/>
                  <a:pt x="323661" y="2106980"/>
                  <a:pt x="272891" y="2037170"/>
                </a:cubicBezTo>
                <a:cubicBezTo>
                  <a:pt x="215774" y="1967361"/>
                  <a:pt x="184043" y="1884858"/>
                  <a:pt x="171350" y="1789664"/>
                </a:cubicBezTo>
                <a:cubicBezTo>
                  <a:pt x="158658" y="1700815"/>
                  <a:pt x="171350" y="1605620"/>
                  <a:pt x="203082" y="1529464"/>
                </a:cubicBezTo>
                <a:cubicBezTo>
                  <a:pt x="241159" y="1446962"/>
                  <a:pt x="291930" y="1370806"/>
                  <a:pt x="368085" y="1320036"/>
                </a:cubicBezTo>
                <a:cubicBezTo>
                  <a:pt x="437894" y="1262919"/>
                  <a:pt x="495011" y="1193109"/>
                  <a:pt x="526742" y="1104261"/>
                </a:cubicBezTo>
                <a:cubicBezTo>
                  <a:pt x="558474" y="1028105"/>
                  <a:pt x="571167" y="939256"/>
                  <a:pt x="558474" y="844061"/>
                </a:cubicBezTo>
                <a:cubicBezTo>
                  <a:pt x="552128" y="748866"/>
                  <a:pt x="514050" y="666364"/>
                  <a:pt x="456933" y="596555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6698467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Picture Placeholder 1026">
            <a:extLst>
              <a:ext uri="{FF2B5EF4-FFF2-40B4-BE49-F238E27FC236}">
                <a16:creationId xmlns:a16="http://schemas.microsoft.com/office/drawing/2014/main" id="{9A301015-C05B-1EA1-0EAE-127A1D8E1430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4217581" y="0"/>
            <a:ext cx="7974419" cy="6858000"/>
          </a:xfrm>
          <a:custGeom>
            <a:avLst/>
            <a:gdLst>
              <a:gd name="connsiteX0" fmla="*/ 0 w 1905000"/>
              <a:gd name="connsiteY0" fmla="*/ 0 h 1638300"/>
              <a:gd name="connsiteX1" fmla="*/ 1905000 w 1905000"/>
              <a:gd name="connsiteY1" fmla="*/ 0 h 1638300"/>
              <a:gd name="connsiteX2" fmla="*/ 1905000 w 1905000"/>
              <a:gd name="connsiteY2" fmla="*/ 1638300 h 1638300"/>
              <a:gd name="connsiteX3" fmla="*/ 1590656 w 1905000"/>
              <a:gd name="connsiteY3" fmla="*/ 1638300 h 1638300"/>
              <a:gd name="connsiteX4" fmla="*/ 1276312 w 1905000"/>
              <a:gd name="connsiteY4" fmla="*/ 1471436 h 1638300"/>
              <a:gd name="connsiteX5" fmla="*/ 1136183 w 1905000"/>
              <a:gd name="connsiteY5" fmla="*/ 1171840 h 1638300"/>
              <a:gd name="connsiteX6" fmla="*/ 314344 w 1905000"/>
              <a:gd name="connsiteY6" fmla="*/ 200995 h 1638300"/>
              <a:gd name="connsiteX7" fmla="*/ 45448 w 1905000"/>
              <a:gd name="connsiteY7" fmla="*/ 11377 h 1638300"/>
              <a:gd name="connsiteX8" fmla="*/ 0 w 1905000"/>
              <a:gd name="connsiteY8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05000" h="1638300">
                <a:moveTo>
                  <a:pt x="0" y="0"/>
                </a:moveTo>
                <a:lnTo>
                  <a:pt x="1905000" y="0"/>
                </a:lnTo>
                <a:cubicBezTo>
                  <a:pt x="1905000" y="0"/>
                  <a:pt x="1905000" y="0"/>
                  <a:pt x="1905000" y="1638300"/>
                </a:cubicBezTo>
                <a:cubicBezTo>
                  <a:pt x="1905000" y="1638300"/>
                  <a:pt x="1905000" y="1638300"/>
                  <a:pt x="1590656" y="1638300"/>
                </a:cubicBezTo>
                <a:cubicBezTo>
                  <a:pt x="1495974" y="1570038"/>
                  <a:pt x="1389931" y="1513152"/>
                  <a:pt x="1276312" y="1471436"/>
                </a:cubicBezTo>
                <a:cubicBezTo>
                  <a:pt x="1257376" y="1361458"/>
                  <a:pt x="1208141" y="1259064"/>
                  <a:pt x="1136183" y="1171840"/>
                </a:cubicBezTo>
                <a:cubicBezTo>
                  <a:pt x="1136183" y="1171840"/>
                  <a:pt x="1136183" y="1171840"/>
                  <a:pt x="314344" y="200995"/>
                </a:cubicBezTo>
                <a:cubicBezTo>
                  <a:pt x="242386" y="117563"/>
                  <a:pt x="151491" y="53093"/>
                  <a:pt x="45448" y="11377"/>
                </a:cubicBezTo>
                <a:cubicBezTo>
                  <a:pt x="30298" y="7585"/>
                  <a:pt x="15149" y="3792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8" name="Picture 7" descr="A red rectangular object with black border&#10;&#10;Description automatically generated">
            <a:extLst>
              <a:ext uri="{FF2B5EF4-FFF2-40B4-BE49-F238E27FC236}">
                <a16:creationId xmlns:a16="http://schemas.microsoft.com/office/drawing/2014/main" id="{ABFACA10-0B70-D0B7-6BBA-18036D767D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4374" y="5790611"/>
            <a:ext cx="6419851" cy="10673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2848795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9267825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3171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465762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D219D62-CABA-69E2-E4EB-156330B182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3630F0D-3887-6D2F-5720-3333334C13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837610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F11EDDC-1465-A78B-C3BD-A70D9121A33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73E3490-C5C2-7754-8FFF-150028EB9BC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14D0B233-2FE1-9855-6829-FEF22EE73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BF39D8E-4140-1FAB-7479-6231CA188B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094077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Wid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11168062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63FBBE-05C7-4083-A849-9413DA7CDD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93058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Picture Placeholder 1035">
            <a:extLst>
              <a:ext uri="{FF2B5EF4-FFF2-40B4-BE49-F238E27FC236}">
                <a16:creationId xmlns:a16="http://schemas.microsoft.com/office/drawing/2014/main" id="{7AA4D6D0-4766-1D05-8A41-65097B5A11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1563350" cy="6858000"/>
          </a:xfrm>
          <a:custGeom>
            <a:avLst/>
            <a:gdLst>
              <a:gd name="connsiteX0" fmla="*/ 0 w 2751427"/>
              <a:gd name="connsiteY0" fmla="*/ 0 h 1638300"/>
              <a:gd name="connsiteX1" fmla="*/ 582307 w 2751427"/>
              <a:gd name="connsiteY1" fmla="*/ 0 h 1638300"/>
              <a:gd name="connsiteX2" fmla="*/ 1160833 w 2751427"/>
              <a:gd name="connsiteY2" fmla="*/ 0 h 1638300"/>
              <a:gd name="connsiteX3" fmla="*/ 1743141 w 2751427"/>
              <a:gd name="connsiteY3" fmla="*/ 0 h 1638300"/>
              <a:gd name="connsiteX4" fmla="*/ 2321667 w 2751427"/>
              <a:gd name="connsiteY4" fmla="*/ 0 h 1638300"/>
              <a:gd name="connsiteX5" fmla="*/ 2495602 w 2751427"/>
              <a:gd name="connsiteY5" fmla="*/ 0 h 1638300"/>
              <a:gd name="connsiteX6" fmla="*/ 2355697 w 2751427"/>
              <a:gd name="connsiteY6" fmla="*/ 333728 h 1638300"/>
              <a:gd name="connsiteX7" fmla="*/ 2355697 w 2751427"/>
              <a:gd name="connsiteY7" fmla="*/ 656079 h 1638300"/>
              <a:gd name="connsiteX8" fmla="*/ 2495602 w 2751427"/>
              <a:gd name="connsiteY8" fmla="*/ 982222 h 1638300"/>
              <a:gd name="connsiteX9" fmla="*/ 2650632 w 2751427"/>
              <a:gd name="connsiteY9" fmla="*/ 1152878 h 1638300"/>
              <a:gd name="connsiteX10" fmla="*/ 2745163 w 2751427"/>
              <a:gd name="connsiteY10" fmla="*/ 1312157 h 1638300"/>
              <a:gd name="connsiteX11" fmla="*/ 2748944 w 2751427"/>
              <a:gd name="connsiteY11" fmla="*/ 1422136 h 1638300"/>
              <a:gd name="connsiteX12" fmla="*/ 2571227 w 2751427"/>
              <a:gd name="connsiteY12" fmla="*/ 1638300 h 1638300"/>
              <a:gd name="connsiteX13" fmla="*/ 2321667 w 2751427"/>
              <a:gd name="connsiteY13" fmla="*/ 1638300 h 1638300"/>
              <a:gd name="connsiteX14" fmla="*/ 1743141 w 2751427"/>
              <a:gd name="connsiteY14" fmla="*/ 1638300 h 1638300"/>
              <a:gd name="connsiteX15" fmla="*/ 1160833 w 2751427"/>
              <a:gd name="connsiteY15" fmla="*/ 1638300 h 1638300"/>
              <a:gd name="connsiteX16" fmla="*/ 582307 w 2751427"/>
              <a:gd name="connsiteY16" fmla="*/ 1638300 h 1638300"/>
              <a:gd name="connsiteX17" fmla="*/ 0 w 2751427"/>
              <a:gd name="connsiteY17" fmla="*/ 1638300 h 1638300"/>
              <a:gd name="connsiteX18" fmla="*/ 0 w 2751427"/>
              <a:gd name="connsiteY18" fmla="*/ 1312157 h 1638300"/>
              <a:gd name="connsiteX19" fmla="*/ 0 w 2751427"/>
              <a:gd name="connsiteY19" fmla="*/ 982222 h 1638300"/>
              <a:gd name="connsiteX20" fmla="*/ 0 w 2751427"/>
              <a:gd name="connsiteY20" fmla="*/ 656079 h 1638300"/>
              <a:gd name="connsiteX21" fmla="*/ 0 w 2751427"/>
              <a:gd name="connsiteY21" fmla="*/ 326143 h 1638300"/>
              <a:gd name="connsiteX22" fmla="*/ 0 w 2751427"/>
              <a:gd name="connsiteY22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751427" h="1638300">
                <a:moveTo>
                  <a:pt x="0" y="0"/>
                </a:moveTo>
                <a:cubicBezTo>
                  <a:pt x="0" y="0"/>
                  <a:pt x="0" y="0"/>
                  <a:pt x="582307" y="0"/>
                </a:cubicBezTo>
                <a:cubicBezTo>
                  <a:pt x="582307" y="0"/>
                  <a:pt x="582307" y="0"/>
                  <a:pt x="1160833" y="0"/>
                </a:cubicBezTo>
                <a:cubicBezTo>
                  <a:pt x="1160833" y="0"/>
                  <a:pt x="1160833" y="0"/>
                  <a:pt x="1743141" y="0"/>
                </a:cubicBezTo>
                <a:cubicBezTo>
                  <a:pt x="1743141" y="0"/>
                  <a:pt x="1743141" y="0"/>
                  <a:pt x="2321667" y="0"/>
                </a:cubicBezTo>
                <a:cubicBezTo>
                  <a:pt x="2321667" y="0"/>
                  <a:pt x="2321667" y="0"/>
                  <a:pt x="2495602" y="0"/>
                </a:cubicBezTo>
                <a:cubicBezTo>
                  <a:pt x="2427541" y="98602"/>
                  <a:pt x="2378385" y="216165"/>
                  <a:pt x="2355697" y="333728"/>
                </a:cubicBezTo>
                <a:cubicBezTo>
                  <a:pt x="2336791" y="439914"/>
                  <a:pt x="2336791" y="553685"/>
                  <a:pt x="2355697" y="656079"/>
                </a:cubicBezTo>
                <a:cubicBezTo>
                  <a:pt x="2378385" y="773642"/>
                  <a:pt x="2427541" y="883620"/>
                  <a:pt x="2495602" y="982222"/>
                </a:cubicBezTo>
                <a:cubicBezTo>
                  <a:pt x="2537196" y="1046692"/>
                  <a:pt x="2590133" y="1103577"/>
                  <a:pt x="2650632" y="1152878"/>
                </a:cubicBezTo>
                <a:cubicBezTo>
                  <a:pt x="2699788" y="1194594"/>
                  <a:pt x="2730038" y="1247687"/>
                  <a:pt x="2745163" y="1312157"/>
                </a:cubicBezTo>
                <a:cubicBezTo>
                  <a:pt x="2752725" y="1346288"/>
                  <a:pt x="2752725" y="1384212"/>
                  <a:pt x="2748944" y="1422136"/>
                </a:cubicBezTo>
                <a:cubicBezTo>
                  <a:pt x="2730038" y="1520737"/>
                  <a:pt x="2665757" y="1600377"/>
                  <a:pt x="2571227" y="1638300"/>
                </a:cubicBezTo>
                <a:cubicBezTo>
                  <a:pt x="2571227" y="1638300"/>
                  <a:pt x="2571227" y="1638300"/>
                  <a:pt x="2321667" y="1638300"/>
                </a:cubicBezTo>
                <a:cubicBezTo>
                  <a:pt x="2321667" y="1638300"/>
                  <a:pt x="2321667" y="1638300"/>
                  <a:pt x="1743141" y="1638300"/>
                </a:cubicBezTo>
                <a:cubicBezTo>
                  <a:pt x="1743141" y="1638300"/>
                  <a:pt x="1743141" y="1638300"/>
                  <a:pt x="1160833" y="1638300"/>
                </a:cubicBezTo>
                <a:cubicBezTo>
                  <a:pt x="1160833" y="1638300"/>
                  <a:pt x="1160833" y="1638300"/>
                  <a:pt x="582307" y="1638300"/>
                </a:cubicBezTo>
                <a:cubicBezTo>
                  <a:pt x="582307" y="1638300"/>
                  <a:pt x="582307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554587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797C4475-552D-264A-A4E6-E6613B129D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4765042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and a black background&#10;&#10;Description automatically generated">
            <a:extLst>
              <a:ext uri="{FF2B5EF4-FFF2-40B4-BE49-F238E27FC236}">
                <a16:creationId xmlns:a16="http://schemas.microsoft.com/office/drawing/2014/main" id="{86B6FA02-ECA3-BA26-3F96-186B4A3BE4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0500" y="0"/>
            <a:ext cx="43815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663647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3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and circle shapes&#10;&#10;Description automatically generated with medium confidence">
            <a:extLst>
              <a:ext uri="{FF2B5EF4-FFF2-40B4-BE49-F238E27FC236}">
                <a16:creationId xmlns:a16="http://schemas.microsoft.com/office/drawing/2014/main" id="{9B53DC61-E9DE-3047-B6D1-237E56DAFA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0793294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4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s on a black background&#10;&#10;Description automatically generated">
            <a:extLst>
              <a:ext uri="{FF2B5EF4-FFF2-40B4-BE49-F238E27FC236}">
                <a16:creationId xmlns:a16="http://schemas.microsoft.com/office/drawing/2014/main" id="{E5CBFECC-BB8C-E07A-6D60-DFF6584C47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500" y="0"/>
            <a:ext cx="47625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5473000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" name="Picture Placeholder 1043">
            <a:extLst>
              <a:ext uri="{FF2B5EF4-FFF2-40B4-BE49-F238E27FC236}">
                <a16:creationId xmlns:a16="http://schemas.microsoft.com/office/drawing/2014/main" id="{3AF085D9-69D8-9C08-D85F-EAC08C542F7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00676" y="0"/>
            <a:ext cx="6791324" cy="6858000"/>
          </a:xfrm>
          <a:custGeom>
            <a:avLst/>
            <a:gdLst>
              <a:gd name="connsiteX0" fmla="*/ 2156795 w 3442824"/>
              <a:gd name="connsiteY0" fmla="*/ 0 h 3476625"/>
              <a:gd name="connsiteX1" fmla="*/ 3442824 w 3442824"/>
              <a:gd name="connsiteY1" fmla="*/ 0 h 3476625"/>
              <a:gd name="connsiteX2" fmla="*/ 3442824 w 3442824"/>
              <a:gd name="connsiteY2" fmla="*/ 3476625 h 3476625"/>
              <a:gd name="connsiteX3" fmla="*/ 0 w 3442824"/>
              <a:gd name="connsiteY3" fmla="*/ 3476625 h 3476625"/>
              <a:gd name="connsiteX4" fmla="*/ 117497 w 3442824"/>
              <a:gd name="connsiteY4" fmla="*/ 3067800 h 3476625"/>
              <a:gd name="connsiteX5" fmla="*/ 877204 w 3442824"/>
              <a:gd name="connsiteY5" fmla="*/ 2628393 h 3476625"/>
              <a:gd name="connsiteX6" fmla="*/ 1636911 w 3442824"/>
              <a:gd name="connsiteY6" fmla="*/ 2190596 h 3476625"/>
              <a:gd name="connsiteX7" fmla="*/ 1636911 w 3442824"/>
              <a:gd name="connsiteY7" fmla="*/ 1311782 h 3476625"/>
              <a:gd name="connsiteX8" fmla="*/ 1636911 w 3442824"/>
              <a:gd name="connsiteY8" fmla="*/ 434578 h 3476625"/>
              <a:gd name="connsiteX9" fmla="*/ 1958821 w 3442824"/>
              <a:gd name="connsiteY9" fmla="*/ 114278 h 3476625"/>
              <a:gd name="connsiteX10" fmla="*/ 2156795 w 3442824"/>
              <a:gd name="connsiteY10" fmla="*/ 0 h 3476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442824" h="3476625">
                <a:moveTo>
                  <a:pt x="2156795" y="0"/>
                </a:moveTo>
                <a:cubicBezTo>
                  <a:pt x="2156795" y="0"/>
                  <a:pt x="2156795" y="0"/>
                  <a:pt x="3442824" y="0"/>
                </a:cubicBezTo>
                <a:cubicBezTo>
                  <a:pt x="3442824" y="0"/>
                  <a:pt x="3442824" y="0"/>
                  <a:pt x="3442824" y="3476625"/>
                </a:cubicBezTo>
                <a:lnTo>
                  <a:pt x="0" y="3476625"/>
                </a:lnTo>
                <a:cubicBezTo>
                  <a:pt x="4829" y="3334985"/>
                  <a:pt x="45067" y="3193345"/>
                  <a:pt x="117497" y="3067800"/>
                </a:cubicBezTo>
                <a:cubicBezTo>
                  <a:pt x="275233" y="2795786"/>
                  <a:pt x="563342" y="2628393"/>
                  <a:pt x="877204" y="2628393"/>
                </a:cubicBezTo>
                <a:cubicBezTo>
                  <a:pt x="1191066" y="2628393"/>
                  <a:pt x="1480785" y="2461000"/>
                  <a:pt x="1636911" y="2190596"/>
                </a:cubicBezTo>
                <a:cubicBezTo>
                  <a:pt x="1794647" y="1918582"/>
                  <a:pt x="1794647" y="1583796"/>
                  <a:pt x="1636911" y="1311782"/>
                </a:cubicBezTo>
                <a:cubicBezTo>
                  <a:pt x="1480785" y="1041378"/>
                  <a:pt x="1480785" y="706592"/>
                  <a:pt x="1636911" y="434578"/>
                </a:cubicBezTo>
                <a:cubicBezTo>
                  <a:pt x="1715779" y="299376"/>
                  <a:pt x="1826838" y="189927"/>
                  <a:pt x="1958821" y="114278"/>
                </a:cubicBezTo>
                <a:cubicBezTo>
                  <a:pt x="1958821" y="114278"/>
                  <a:pt x="1958821" y="114278"/>
                  <a:pt x="2156795" y="0"/>
                </a:cubicBezTo>
                <a:close/>
              </a:path>
            </a:pathLst>
          </a:custGeom>
        </p:spPr>
        <p:txBody>
          <a:bodyPr wrap="square" tIns="57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5602911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33E8073-942E-24AC-8397-5E93C0860D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67351" y="0"/>
            <a:ext cx="6724650" cy="6864344"/>
          </a:xfrm>
          <a:custGeom>
            <a:avLst/>
            <a:gdLst>
              <a:gd name="connsiteX0" fmla="*/ 1381768 w 3687363"/>
              <a:gd name="connsiteY0" fmla="*/ 0 h 3763962"/>
              <a:gd name="connsiteX1" fmla="*/ 3687363 w 3687363"/>
              <a:gd name="connsiteY1" fmla="*/ 0 h 3763962"/>
              <a:gd name="connsiteX2" fmla="*/ 3687363 w 3687363"/>
              <a:gd name="connsiteY2" fmla="*/ 3763962 h 3763962"/>
              <a:gd name="connsiteX3" fmla="*/ 179303 w 3687363"/>
              <a:gd name="connsiteY3" fmla="*/ 3763962 h 3763962"/>
              <a:gd name="connsiteX4" fmla="*/ 177560 w 3687363"/>
              <a:gd name="connsiteY4" fmla="*/ 3762220 h 3763962"/>
              <a:gd name="connsiteX5" fmla="*/ 85197 w 3687363"/>
              <a:gd name="connsiteY5" fmla="*/ 2816001 h 3763962"/>
              <a:gd name="connsiteX6" fmla="*/ 857214 w 3687363"/>
              <a:gd name="connsiteY6" fmla="*/ 2263605 h 3763962"/>
              <a:gd name="connsiteX7" fmla="*/ 1629232 w 3687363"/>
              <a:gd name="connsiteY7" fmla="*/ 1709466 h 3763962"/>
              <a:gd name="connsiteX8" fmla="*/ 1535126 w 3687363"/>
              <a:gd name="connsiteY8" fmla="*/ 764991 h 3763962"/>
              <a:gd name="connsiteX9" fmla="*/ 1381768 w 3687363"/>
              <a:gd name="connsiteY9" fmla="*/ 0 h 3763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87363" h="3763962">
                <a:moveTo>
                  <a:pt x="1381768" y="0"/>
                </a:moveTo>
                <a:cubicBezTo>
                  <a:pt x="1381768" y="0"/>
                  <a:pt x="1381768" y="0"/>
                  <a:pt x="3687363" y="0"/>
                </a:cubicBezTo>
                <a:lnTo>
                  <a:pt x="3687363" y="3763962"/>
                </a:lnTo>
                <a:cubicBezTo>
                  <a:pt x="3687363" y="3763962"/>
                  <a:pt x="3687363" y="3763962"/>
                  <a:pt x="179303" y="3763962"/>
                </a:cubicBezTo>
                <a:cubicBezTo>
                  <a:pt x="179303" y="3762220"/>
                  <a:pt x="177560" y="3762220"/>
                  <a:pt x="177560" y="3762220"/>
                </a:cubicBezTo>
                <a:cubicBezTo>
                  <a:pt x="-19365" y="3485150"/>
                  <a:pt x="-55962" y="3124437"/>
                  <a:pt x="85197" y="2816001"/>
                </a:cubicBezTo>
                <a:cubicBezTo>
                  <a:pt x="224613" y="2507566"/>
                  <a:pt x="519130" y="2296714"/>
                  <a:pt x="857214" y="2263605"/>
                </a:cubicBezTo>
                <a:cubicBezTo>
                  <a:pt x="1195299" y="2228754"/>
                  <a:pt x="1488073" y="2017902"/>
                  <a:pt x="1629232" y="1709466"/>
                </a:cubicBezTo>
                <a:cubicBezTo>
                  <a:pt x="1768648" y="1401030"/>
                  <a:pt x="1733794" y="1040317"/>
                  <a:pt x="1535126" y="764991"/>
                </a:cubicBezTo>
                <a:cubicBezTo>
                  <a:pt x="1374797" y="540198"/>
                  <a:pt x="1322516" y="261386"/>
                  <a:pt x="1381768" y="0"/>
                </a:cubicBezTo>
                <a:close/>
              </a:path>
            </a:pathLst>
          </a:custGeom>
        </p:spPr>
        <p:txBody>
          <a:bodyPr wrap="square" tIns="57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3804071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3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9C75056C-318D-5182-7DFA-238419FA663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10313" y="-1"/>
            <a:ext cx="5881687" cy="6863427"/>
          </a:xfrm>
          <a:custGeom>
            <a:avLst/>
            <a:gdLst>
              <a:gd name="connsiteX0" fmla="*/ 142382 w 3512411"/>
              <a:gd name="connsiteY0" fmla="*/ 0 h 4098684"/>
              <a:gd name="connsiteX1" fmla="*/ 3512411 w 3512411"/>
              <a:gd name="connsiteY1" fmla="*/ 0 h 4098684"/>
              <a:gd name="connsiteX2" fmla="*/ 3512411 w 3512411"/>
              <a:gd name="connsiteY2" fmla="*/ 4098684 h 4098684"/>
              <a:gd name="connsiteX3" fmla="*/ 2125310 w 3512411"/>
              <a:gd name="connsiteY3" fmla="*/ 4098684 h 4098684"/>
              <a:gd name="connsiteX4" fmla="*/ 451681 w 3512411"/>
              <a:gd name="connsiteY4" fmla="*/ 2652759 h 4098684"/>
              <a:gd name="connsiteX5" fmla="*/ 142382 w 3512411"/>
              <a:gd name="connsiteY5" fmla="*/ 0 h 4098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12411" h="4098684">
                <a:moveTo>
                  <a:pt x="142382" y="0"/>
                </a:moveTo>
                <a:cubicBezTo>
                  <a:pt x="142382" y="0"/>
                  <a:pt x="142382" y="0"/>
                  <a:pt x="3512411" y="0"/>
                </a:cubicBezTo>
                <a:cubicBezTo>
                  <a:pt x="3512411" y="0"/>
                  <a:pt x="3512411" y="0"/>
                  <a:pt x="3512411" y="4098684"/>
                </a:cubicBezTo>
                <a:cubicBezTo>
                  <a:pt x="3512411" y="4098684"/>
                  <a:pt x="3512411" y="4098684"/>
                  <a:pt x="2125310" y="4098684"/>
                </a:cubicBezTo>
                <a:cubicBezTo>
                  <a:pt x="1430811" y="3823541"/>
                  <a:pt x="836881" y="3318796"/>
                  <a:pt x="451681" y="2652759"/>
                </a:cubicBezTo>
                <a:cubicBezTo>
                  <a:pt x="-18909" y="1838715"/>
                  <a:pt x="-121376" y="878561"/>
                  <a:pt x="142382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0896858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4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FE5B621D-69A8-D558-4755-2528B084DCF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9303" y="0"/>
            <a:ext cx="6582697" cy="6858000"/>
          </a:xfrm>
          <a:custGeom>
            <a:avLst/>
            <a:gdLst>
              <a:gd name="connsiteX0" fmla="*/ 0 w 4251325"/>
              <a:gd name="connsiteY0" fmla="*/ 0 h 4429125"/>
              <a:gd name="connsiteX1" fmla="*/ 4251325 w 4251325"/>
              <a:gd name="connsiteY1" fmla="*/ 0 h 4429125"/>
              <a:gd name="connsiteX2" fmla="*/ 4251325 w 4251325"/>
              <a:gd name="connsiteY2" fmla="*/ 4429125 h 4429125"/>
              <a:gd name="connsiteX3" fmla="*/ 1002845 w 4251325"/>
              <a:gd name="connsiteY3" fmla="*/ 4429125 h 4429125"/>
              <a:gd name="connsiteX4" fmla="*/ 1019252 w 4251325"/>
              <a:gd name="connsiteY4" fmla="*/ 3834474 h 4429125"/>
              <a:gd name="connsiteX5" fmla="*/ 1837524 w 4251325"/>
              <a:gd name="connsiteY5" fmla="*/ 3077832 h 4429125"/>
              <a:gd name="connsiteX6" fmla="*/ 2655796 w 4251325"/>
              <a:gd name="connsiteY6" fmla="*/ 2323240 h 4429125"/>
              <a:gd name="connsiteX7" fmla="*/ 2409700 w 4251325"/>
              <a:gd name="connsiteY7" fmla="*/ 1236464 h 4429125"/>
              <a:gd name="connsiteX8" fmla="*/ 1345330 w 4251325"/>
              <a:gd name="connsiteY8" fmla="*/ 906330 h 4429125"/>
              <a:gd name="connsiteX9" fmla="*/ 280961 w 4251325"/>
              <a:gd name="connsiteY9" fmla="*/ 576196 h 4429125"/>
              <a:gd name="connsiteX10" fmla="*/ 0 w 4251325"/>
              <a:gd name="connsiteY10" fmla="*/ 0 h 4429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251325" h="4429125">
                <a:moveTo>
                  <a:pt x="0" y="0"/>
                </a:moveTo>
                <a:cubicBezTo>
                  <a:pt x="0" y="0"/>
                  <a:pt x="0" y="0"/>
                  <a:pt x="4251325" y="0"/>
                </a:cubicBezTo>
                <a:cubicBezTo>
                  <a:pt x="4251325" y="0"/>
                  <a:pt x="4251325" y="0"/>
                  <a:pt x="4251325" y="4429125"/>
                </a:cubicBezTo>
                <a:cubicBezTo>
                  <a:pt x="4251325" y="4429125"/>
                  <a:pt x="4251325" y="4429125"/>
                  <a:pt x="1002845" y="4429125"/>
                </a:cubicBezTo>
                <a:cubicBezTo>
                  <a:pt x="953626" y="4236376"/>
                  <a:pt x="957728" y="4031324"/>
                  <a:pt x="1019252" y="3834474"/>
                </a:cubicBezTo>
                <a:cubicBezTo>
                  <a:pt x="1138199" y="3455128"/>
                  <a:pt x="1449921" y="3166004"/>
                  <a:pt x="1837524" y="3077832"/>
                </a:cubicBezTo>
                <a:cubicBezTo>
                  <a:pt x="2225127" y="2989660"/>
                  <a:pt x="2536850" y="2702587"/>
                  <a:pt x="2655796" y="2323240"/>
                </a:cubicBezTo>
                <a:cubicBezTo>
                  <a:pt x="2772693" y="1941843"/>
                  <a:pt x="2678355" y="1527638"/>
                  <a:pt x="2409700" y="1236464"/>
                </a:cubicBezTo>
                <a:cubicBezTo>
                  <a:pt x="2138993" y="945290"/>
                  <a:pt x="1732933" y="818158"/>
                  <a:pt x="1345330" y="906330"/>
                </a:cubicBezTo>
                <a:cubicBezTo>
                  <a:pt x="957728" y="994503"/>
                  <a:pt x="551668" y="869421"/>
                  <a:pt x="280961" y="576196"/>
                </a:cubicBezTo>
                <a:cubicBezTo>
                  <a:pt x="131252" y="414205"/>
                  <a:pt x="34864" y="213254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6436200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5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D6F452B3-D14F-5BED-3898-8D8D3B984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7203" y="0"/>
            <a:ext cx="6044798" cy="6858000"/>
          </a:xfrm>
          <a:custGeom>
            <a:avLst/>
            <a:gdLst>
              <a:gd name="connsiteX0" fmla="*/ 720997 w 4611957"/>
              <a:gd name="connsiteY0" fmla="*/ 0 h 5232400"/>
              <a:gd name="connsiteX1" fmla="*/ 4611957 w 4611957"/>
              <a:gd name="connsiteY1" fmla="*/ 0 h 5232400"/>
              <a:gd name="connsiteX2" fmla="*/ 4611957 w 4611957"/>
              <a:gd name="connsiteY2" fmla="*/ 5232400 h 5232400"/>
              <a:gd name="connsiteX3" fmla="*/ 1329111 w 4611957"/>
              <a:gd name="connsiteY3" fmla="*/ 5232400 h 5232400"/>
              <a:gd name="connsiteX4" fmla="*/ 476298 w 4611957"/>
              <a:gd name="connsiteY4" fmla="*/ 4469342 h 5232400"/>
              <a:gd name="connsiteX5" fmla="*/ 71696 w 4611957"/>
              <a:gd name="connsiteY5" fmla="*/ 3851628 h 5232400"/>
              <a:gd name="connsiteX6" fmla="*/ 30509 w 4611957"/>
              <a:gd name="connsiteY6" fmla="*/ 3112794 h 5232400"/>
              <a:gd name="connsiteX7" fmla="*/ 611973 w 4611957"/>
              <a:gd name="connsiteY7" fmla="*/ 322180 h 5232400"/>
              <a:gd name="connsiteX8" fmla="*/ 720997 w 4611957"/>
              <a:gd name="connsiteY8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1957" h="5232400">
                <a:moveTo>
                  <a:pt x="720997" y="0"/>
                </a:moveTo>
                <a:cubicBezTo>
                  <a:pt x="720997" y="0"/>
                  <a:pt x="720997" y="0"/>
                  <a:pt x="4611957" y="0"/>
                </a:cubicBezTo>
                <a:lnTo>
                  <a:pt x="4611957" y="5232400"/>
                </a:lnTo>
                <a:cubicBezTo>
                  <a:pt x="4611957" y="5232400"/>
                  <a:pt x="4611957" y="5232400"/>
                  <a:pt x="1329111" y="5232400"/>
                </a:cubicBezTo>
                <a:cubicBezTo>
                  <a:pt x="1329111" y="5232400"/>
                  <a:pt x="1329111" y="5232400"/>
                  <a:pt x="476298" y="4469342"/>
                </a:cubicBezTo>
                <a:cubicBezTo>
                  <a:pt x="292168" y="4304618"/>
                  <a:pt x="151647" y="4093869"/>
                  <a:pt x="71696" y="3851628"/>
                </a:cubicBezTo>
                <a:cubicBezTo>
                  <a:pt x="-8255" y="3609387"/>
                  <a:pt x="-20369" y="3355034"/>
                  <a:pt x="30509" y="3112794"/>
                </a:cubicBezTo>
                <a:cubicBezTo>
                  <a:pt x="30509" y="3112794"/>
                  <a:pt x="30509" y="3112794"/>
                  <a:pt x="611973" y="322180"/>
                </a:cubicBezTo>
                <a:cubicBezTo>
                  <a:pt x="636200" y="210750"/>
                  <a:pt x="672542" y="101741"/>
                  <a:pt x="720997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2866913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Image [R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orange gradient&#10;&#10;Description automatically generated">
            <a:extLst>
              <a:ext uri="{FF2B5EF4-FFF2-40B4-BE49-F238E27FC236}">
                <a16:creationId xmlns:a16="http://schemas.microsoft.com/office/drawing/2014/main" id="{BB08B6D7-9DFB-0B5A-72BD-AF8D4B6782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38310" y="4267245"/>
            <a:ext cx="2868930" cy="2615879"/>
          </a:xfrm>
          <a:prstGeom prst="rect">
            <a:avLst/>
          </a:prstGeom>
        </p:spPr>
      </p:pic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95F69B26-C1D2-001D-7B52-E91D153AC3C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43611" y="0"/>
            <a:ext cx="5848390" cy="6858000"/>
          </a:xfrm>
          <a:custGeom>
            <a:avLst/>
            <a:gdLst>
              <a:gd name="connsiteX0" fmla="*/ 0 w 2528887"/>
              <a:gd name="connsiteY0" fmla="*/ 0 h 2965450"/>
              <a:gd name="connsiteX1" fmla="*/ 2528887 w 2528887"/>
              <a:gd name="connsiteY1" fmla="*/ 0 h 2965450"/>
              <a:gd name="connsiteX2" fmla="*/ 2528887 w 2528887"/>
              <a:gd name="connsiteY2" fmla="*/ 1860271 h 2965450"/>
              <a:gd name="connsiteX3" fmla="*/ 1471752 w 2528887"/>
              <a:gd name="connsiteY3" fmla="*/ 2471208 h 2965450"/>
              <a:gd name="connsiteX4" fmla="*/ 1355055 w 2528887"/>
              <a:gd name="connsiteY4" fmla="*/ 2587218 h 2965450"/>
              <a:gd name="connsiteX5" fmla="*/ 1355055 w 2528887"/>
              <a:gd name="connsiteY5" fmla="*/ 2905043 h 2965450"/>
              <a:gd name="connsiteX6" fmla="*/ 1381827 w 2528887"/>
              <a:gd name="connsiteY6" fmla="*/ 2965450 h 2965450"/>
              <a:gd name="connsiteX7" fmla="*/ 0 w 2528887"/>
              <a:gd name="connsiteY7" fmla="*/ 2965450 h 2965450"/>
              <a:gd name="connsiteX8" fmla="*/ 0 w 2528887"/>
              <a:gd name="connsiteY8" fmla="*/ 0 h 2965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8887" h="2965450">
                <a:moveTo>
                  <a:pt x="0" y="0"/>
                </a:moveTo>
                <a:lnTo>
                  <a:pt x="2528887" y="0"/>
                </a:lnTo>
                <a:cubicBezTo>
                  <a:pt x="2528887" y="0"/>
                  <a:pt x="2528887" y="0"/>
                  <a:pt x="2528887" y="1860271"/>
                </a:cubicBezTo>
                <a:cubicBezTo>
                  <a:pt x="2528887" y="1860271"/>
                  <a:pt x="2528887" y="1860271"/>
                  <a:pt x="1471752" y="2471208"/>
                </a:cubicBezTo>
                <a:cubicBezTo>
                  <a:pt x="1424387" y="2497980"/>
                  <a:pt x="1383886" y="2537794"/>
                  <a:pt x="1355055" y="2587218"/>
                </a:cubicBezTo>
                <a:cubicBezTo>
                  <a:pt x="1298766" y="2685380"/>
                  <a:pt x="1298766" y="2806881"/>
                  <a:pt x="1355055" y="2905043"/>
                </a:cubicBezTo>
                <a:cubicBezTo>
                  <a:pt x="1366725" y="2924263"/>
                  <a:pt x="1375649" y="2944857"/>
                  <a:pt x="1381827" y="2965450"/>
                </a:cubicBezTo>
                <a:cubicBezTo>
                  <a:pt x="1381827" y="2965450"/>
                  <a:pt x="1381827" y="2965450"/>
                  <a:pt x="0" y="2965450"/>
                </a:cubicBezTo>
                <a:cubicBezTo>
                  <a:pt x="0" y="2965450"/>
                  <a:pt x="0" y="2965450"/>
                  <a:pt x="0" y="0"/>
                </a:cubicBezTo>
                <a:close/>
              </a:path>
            </a:pathLst>
          </a:custGeom>
        </p:spPr>
        <p:txBody>
          <a:bodyPr wrap="square" tIns="2448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3BE2014-6BFF-DAD9-7999-3E949686F4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01263" y="5823685"/>
            <a:ext cx="1837784" cy="51112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7F9764D7-E923-76E5-5F12-8E69C326B0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2ED556-318C-0990-9C21-48245CFA04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79003514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051E80E-90E2-38D4-1EC7-9B268E7FFE5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1563350" cy="6858000"/>
          </a:xfrm>
          <a:custGeom>
            <a:avLst/>
            <a:gdLst>
              <a:gd name="connsiteX0" fmla="*/ 0 w 2751427"/>
              <a:gd name="connsiteY0" fmla="*/ 0 h 1638300"/>
              <a:gd name="connsiteX1" fmla="*/ 582307 w 2751427"/>
              <a:gd name="connsiteY1" fmla="*/ 0 h 1638300"/>
              <a:gd name="connsiteX2" fmla="*/ 1160833 w 2751427"/>
              <a:gd name="connsiteY2" fmla="*/ 0 h 1638300"/>
              <a:gd name="connsiteX3" fmla="*/ 1743141 w 2751427"/>
              <a:gd name="connsiteY3" fmla="*/ 0 h 1638300"/>
              <a:gd name="connsiteX4" fmla="*/ 2321667 w 2751427"/>
              <a:gd name="connsiteY4" fmla="*/ 0 h 1638300"/>
              <a:gd name="connsiteX5" fmla="*/ 2495602 w 2751427"/>
              <a:gd name="connsiteY5" fmla="*/ 0 h 1638300"/>
              <a:gd name="connsiteX6" fmla="*/ 2355697 w 2751427"/>
              <a:gd name="connsiteY6" fmla="*/ 333728 h 1638300"/>
              <a:gd name="connsiteX7" fmla="*/ 2355697 w 2751427"/>
              <a:gd name="connsiteY7" fmla="*/ 656079 h 1638300"/>
              <a:gd name="connsiteX8" fmla="*/ 2495602 w 2751427"/>
              <a:gd name="connsiteY8" fmla="*/ 982222 h 1638300"/>
              <a:gd name="connsiteX9" fmla="*/ 2650632 w 2751427"/>
              <a:gd name="connsiteY9" fmla="*/ 1152878 h 1638300"/>
              <a:gd name="connsiteX10" fmla="*/ 2745163 w 2751427"/>
              <a:gd name="connsiteY10" fmla="*/ 1312157 h 1638300"/>
              <a:gd name="connsiteX11" fmla="*/ 2748944 w 2751427"/>
              <a:gd name="connsiteY11" fmla="*/ 1422136 h 1638300"/>
              <a:gd name="connsiteX12" fmla="*/ 2571227 w 2751427"/>
              <a:gd name="connsiteY12" fmla="*/ 1638300 h 1638300"/>
              <a:gd name="connsiteX13" fmla="*/ 2321667 w 2751427"/>
              <a:gd name="connsiteY13" fmla="*/ 1638300 h 1638300"/>
              <a:gd name="connsiteX14" fmla="*/ 1743141 w 2751427"/>
              <a:gd name="connsiteY14" fmla="*/ 1638300 h 1638300"/>
              <a:gd name="connsiteX15" fmla="*/ 1160833 w 2751427"/>
              <a:gd name="connsiteY15" fmla="*/ 1638300 h 1638300"/>
              <a:gd name="connsiteX16" fmla="*/ 582307 w 2751427"/>
              <a:gd name="connsiteY16" fmla="*/ 1638300 h 1638300"/>
              <a:gd name="connsiteX17" fmla="*/ 0 w 2751427"/>
              <a:gd name="connsiteY17" fmla="*/ 1638300 h 1638300"/>
              <a:gd name="connsiteX18" fmla="*/ 0 w 2751427"/>
              <a:gd name="connsiteY18" fmla="*/ 1312157 h 1638300"/>
              <a:gd name="connsiteX19" fmla="*/ 0 w 2751427"/>
              <a:gd name="connsiteY19" fmla="*/ 982222 h 1638300"/>
              <a:gd name="connsiteX20" fmla="*/ 0 w 2751427"/>
              <a:gd name="connsiteY20" fmla="*/ 656079 h 1638300"/>
              <a:gd name="connsiteX21" fmla="*/ 0 w 2751427"/>
              <a:gd name="connsiteY21" fmla="*/ 326143 h 1638300"/>
              <a:gd name="connsiteX22" fmla="*/ 0 w 2751427"/>
              <a:gd name="connsiteY22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751427" h="1638300">
                <a:moveTo>
                  <a:pt x="0" y="0"/>
                </a:moveTo>
                <a:cubicBezTo>
                  <a:pt x="0" y="0"/>
                  <a:pt x="0" y="0"/>
                  <a:pt x="582307" y="0"/>
                </a:cubicBezTo>
                <a:cubicBezTo>
                  <a:pt x="582307" y="0"/>
                  <a:pt x="582307" y="0"/>
                  <a:pt x="1160833" y="0"/>
                </a:cubicBezTo>
                <a:cubicBezTo>
                  <a:pt x="1160833" y="0"/>
                  <a:pt x="1160833" y="0"/>
                  <a:pt x="1743141" y="0"/>
                </a:cubicBezTo>
                <a:cubicBezTo>
                  <a:pt x="1743141" y="0"/>
                  <a:pt x="1743141" y="0"/>
                  <a:pt x="2321667" y="0"/>
                </a:cubicBezTo>
                <a:cubicBezTo>
                  <a:pt x="2321667" y="0"/>
                  <a:pt x="2321667" y="0"/>
                  <a:pt x="2495602" y="0"/>
                </a:cubicBezTo>
                <a:cubicBezTo>
                  <a:pt x="2427541" y="98602"/>
                  <a:pt x="2378385" y="216165"/>
                  <a:pt x="2355697" y="333728"/>
                </a:cubicBezTo>
                <a:cubicBezTo>
                  <a:pt x="2336791" y="439914"/>
                  <a:pt x="2336791" y="553685"/>
                  <a:pt x="2355697" y="656079"/>
                </a:cubicBezTo>
                <a:cubicBezTo>
                  <a:pt x="2378385" y="773642"/>
                  <a:pt x="2427541" y="883620"/>
                  <a:pt x="2495602" y="982222"/>
                </a:cubicBezTo>
                <a:cubicBezTo>
                  <a:pt x="2537196" y="1046692"/>
                  <a:pt x="2590133" y="1103577"/>
                  <a:pt x="2650632" y="1152878"/>
                </a:cubicBezTo>
                <a:cubicBezTo>
                  <a:pt x="2699788" y="1194594"/>
                  <a:pt x="2730038" y="1247687"/>
                  <a:pt x="2745163" y="1312157"/>
                </a:cubicBezTo>
                <a:cubicBezTo>
                  <a:pt x="2752725" y="1346288"/>
                  <a:pt x="2752725" y="1384212"/>
                  <a:pt x="2748944" y="1422136"/>
                </a:cubicBezTo>
                <a:cubicBezTo>
                  <a:pt x="2730038" y="1520737"/>
                  <a:pt x="2665757" y="1600377"/>
                  <a:pt x="2571227" y="1638300"/>
                </a:cubicBezTo>
                <a:cubicBezTo>
                  <a:pt x="2571227" y="1638300"/>
                  <a:pt x="2571227" y="1638300"/>
                  <a:pt x="2321667" y="1638300"/>
                </a:cubicBezTo>
                <a:cubicBezTo>
                  <a:pt x="2321667" y="1638300"/>
                  <a:pt x="2321667" y="1638300"/>
                  <a:pt x="1743141" y="1638300"/>
                </a:cubicBezTo>
                <a:cubicBezTo>
                  <a:pt x="1743141" y="1638300"/>
                  <a:pt x="1743141" y="1638300"/>
                  <a:pt x="1160833" y="1638300"/>
                </a:cubicBezTo>
                <a:cubicBezTo>
                  <a:pt x="1160833" y="1638300"/>
                  <a:pt x="1160833" y="1638300"/>
                  <a:pt x="582307" y="1638300"/>
                </a:cubicBezTo>
                <a:cubicBezTo>
                  <a:pt x="582307" y="1638300"/>
                  <a:pt x="582307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5178417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yellow and orange gradient&#10;&#10;Description automatically generated">
            <a:extLst>
              <a:ext uri="{FF2B5EF4-FFF2-40B4-BE49-F238E27FC236}">
                <a16:creationId xmlns:a16="http://schemas.microsoft.com/office/drawing/2014/main" id="{B5EA0191-64B2-37EE-1EB3-A2B96BACF1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35365" y="3952078"/>
            <a:ext cx="3189242" cy="213648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872663" y="4848225"/>
            <a:ext cx="1760013" cy="79819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D5F72E-9CFA-4DC4-D9DD-072AFE5847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61102B7-5897-6D37-B5F8-20800A75B7A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096" y="1996924"/>
            <a:ext cx="11174232" cy="4054626"/>
          </a:xfrm>
          <a:custGeom>
            <a:avLst/>
            <a:gdLst>
              <a:gd name="connsiteX0" fmla="*/ 0 w 7893376"/>
              <a:gd name="connsiteY0" fmla="*/ 0 h 2864151"/>
              <a:gd name="connsiteX1" fmla="*/ 717120 w 7893376"/>
              <a:gd name="connsiteY1" fmla="*/ 0 h 2864151"/>
              <a:gd name="connsiteX2" fmla="*/ 1389435 w 7893376"/>
              <a:gd name="connsiteY2" fmla="*/ 0 h 2864151"/>
              <a:gd name="connsiteX3" fmla="*/ 2018390 w 7893376"/>
              <a:gd name="connsiteY3" fmla="*/ 0 h 2864151"/>
              <a:gd name="connsiteX4" fmla="*/ 2605431 w 7893376"/>
              <a:gd name="connsiteY4" fmla="*/ 0 h 2864151"/>
              <a:gd name="connsiteX5" fmla="*/ 3152004 w 7893376"/>
              <a:gd name="connsiteY5" fmla="*/ 0 h 2864151"/>
              <a:gd name="connsiteX6" fmla="*/ 3659552 w 7893376"/>
              <a:gd name="connsiteY6" fmla="*/ 0 h 2864151"/>
              <a:gd name="connsiteX7" fmla="*/ 4129522 w 7893376"/>
              <a:gd name="connsiteY7" fmla="*/ 0 h 2864151"/>
              <a:gd name="connsiteX8" fmla="*/ 4563359 w 7893376"/>
              <a:gd name="connsiteY8" fmla="*/ 0 h 2864151"/>
              <a:gd name="connsiteX9" fmla="*/ 4962508 w 7893376"/>
              <a:gd name="connsiteY9" fmla="*/ 0 h 2864151"/>
              <a:gd name="connsiteX10" fmla="*/ 5328415 w 7893376"/>
              <a:gd name="connsiteY10" fmla="*/ 0 h 2864151"/>
              <a:gd name="connsiteX11" fmla="*/ 5662525 w 7893376"/>
              <a:gd name="connsiteY11" fmla="*/ 0 h 2864151"/>
              <a:gd name="connsiteX12" fmla="*/ 5966283 w 7893376"/>
              <a:gd name="connsiteY12" fmla="*/ 0 h 2864151"/>
              <a:gd name="connsiteX13" fmla="*/ 6241135 w 7893376"/>
              <a:gd name="connsiteY13" fmla="*/ 0 h 2864151"/>
              <a:gd name="connsiteX14" fmla="*/ 6488526 w 7893376"/>
              <a:gd name="connsiteY14" fmla="*/ 0 h 2864151"/>
              <a:gd name="connsiteX15" fmla="*/ 6709900 w 7893376"/>
              <a:gd name="connsiteY15" fmla="*/ 0 h 2864151"/>
              <a:gd name="connsiteX16" fmla="*/ 6906705 w 7893376"/>
              <a:gd name="connsiteY16" fmla="*/ 0 h 2864151"/>
              <a:gd name="connsiteX17" fmla="*/ 7080384 w 7893376"/>
              <a:gd name="connsiteY17" fmla="*/ 0 h 2864151"/>
              <a:gd name="connsiteX18" fmla="*/ 7232384 w 7893376"/>
              <a:gd name="connsiteY18" fmla="*/ 0 h 2864151"/>
              <a:gd name="connsiteX19" fmla="*/ 7477125 w 7893376"/>
              <a:gd name="connsiteY19" fmla="*/ 0 h 2864151"/>
              <a:gd name="connsiteX20" fmla="*/ 7652490 w 7893376"/>
              <a:gd name="connsiteY20" fmla="*/ 0 h 2864151"/>
              <a:gd name="connsiteX21" fmla="*/ 7770043 w 7893376"/>
              <a:gd name="connsiteY21" fmla="*/ 0 h 2864151"/>
              <a:gd name="connsiteX22" fmla="*/ 7841345 w 7893376"/>
              <a:gd name="connsiteY22" fmla="*/ 0 h 2864151"/>
              <a:gd name="connsiteX23" fmla="*/ 7877960 w 7893376"/>
              <a:gd name="connsiteY23" fmla="*/ 0 h 2864151"/>
              <a:gd name="connsiteX24" fmla="*/ 7891450 w 7893376"/>
              <a:gd name="connsiteY24" fmla="*/ 0 h 2864151"/>
              <a:gd name="connsiteX25" fmla="*/ 7893376 w 7893376"/>
              <a:gd name="connsiteY25" fmla="*/ 0 h 2864151"/>
              <a:gd name="connsiteX26" fmla="*/ 7893376 w 7893376"/>
              <a:gd name="connsiteY26" fmla="*/ 1424213 h 2864151"/>
              <a:gd name="connsiteX27" fmla="*/ 7343668 w 7893376"/>
              <a:gd name="connsiteY27" fmla="*/ 1424213 h 2864151"/>
              <a:gd name="connsiteX28" fmla="*/ 6951018 w 7893376"/>
              <a:gd name="connsiteY28" fmla="*/ 1424213 h 2864151"/>
              <a:gd name="connsiteX29" fmla="*/ 6735622 w 7893376"/>
              <a:gd name="connsiteY29" fmla="*/ 1426460 h 2864151"/>
              <a:gd name="connsiteX30" fmla="*/ 6567344 w 7893376"/>
              <a:gd name="connsiteY30" fmla="*/ 1469141 h 2864151"/>
              <a:gd name="connsiteX31" fmla="*/ 6307073 w 7893376"/>
              <a:gd name="connsiteY31" fmla="*/ 1709505 h 2864151"/>
              <a:gd name="connsiteX32" fmla="*/ 5782045 w 7893376"/>
              <a:gd name="connsiteY32" fmla="*/ 2646251 h 2864151"/>
              <a:gd name="connsiteX33" fmla="*/ 5708002 w 7893376"/>
              <a:gd name="connsiteY33" fmla="*/ 2864151 h 2864151"/>
              <a:gd name="connsiteX34" fmla="*/ 5189426 w 7893376"/>
              <a:gd name="connsiteY34" fmla="*/ 2864151 h 2864151"/>
              <a:gd name="connsiteX35" fmla="*/ 4703249 w 7893376"/>
              <a:gd name="connsiteY35" fmla="*/ 2864151 h 2864151"/>
              <a:gd name="connsiteX36" fmla="*/ 4248427 w 7893376"/>
              <a:gd name="connsiteY36" fmla="*/ 2864151 h 2864151"/>
              <a:gd name="connsiteX37" fmla="*/ 3823916 w 7893376"/>
              <a:gd name="connsiteY37" fmla="*/ 2864151 h 2864151"/>
              <a:gd name="connsiteX38" fmla="*/ 3428669 w 7893376"/>
              <a:gd name="connsiteY38" fmla="*/ 2864151 h 2864151"/>
              <a:gd name="connsiteX39" fmla="*/ 3061641 w 7893376"/>
              <a:gd name="connsiteY39" fmla="*/ 2864151 h 2864151"/>
              <a:gd name="connsiteX40" fmla="*/ 2721788 w 7893376"/>
              <a:gd name="connsiteY40" fmla="*/ 2864151 h 2864151"/>
              <a:gd name="connsiteX41" fmla="*/ 2408064 w 7893376"/>
              <a:gd name="connsiteY41" fmla="*/ 2864151 h 2864151"/>
              <a:gd name="connsiteX42" fmla="*/ 2119424 w 7893376"/>
              <a:gd name="connsiteY42" fmla="*/ 2864151 h 2864151"/>
              <a:gd name="connsiteX43" fmla="*/ 1854822 w 7893376"/>
              <a:gd name="connsiteY43" fmla="*/ 2864151 h 2864151"/>
              <a:gd name="connsiteX44" fmla="*/ 1613215 w 7893376"/>
              <a:gd name="connsiteY44" fmla="*/ 2864151 h 2864151"/>
              <a:gd name="connsiteX45" fmla="*/ 1393555 w 7893376"/>
              <a:gd name="connsiteY45" fmla="*/ 2864151 h 2864151"/>
              <a:gd name="connsiteX46" fmla="*/ 1194800 w 7893376"/>
              <a:gd name="connsiteY46" fmla="*/ 2864151 h 2864151"/>
              <a:gd name="connsiteX47" fmla="*/ 1015902 w 7893376"/>
              <a:gd name="connsiteY47" fmla="*/ 2864151 h 2864151"/>
              <a:gd name="connsiteX48" fmla="*/ 713501 w 7893376"/>
              <a:gd name="connsiteY48" fmla="*/ 2864151 h 2864151"/>
              <a:gd name="connsiteX49" fmla="*/ 477990 w 7893376"/>
              <a:gd name="connsiteY49" fmla="*/ 2864151 h 2864151"/>
              <a:gd name="connsiteX50" fmla="*/ 301008 w 7893376"/>
              <a:gd name="connsiteY50" fmla="*/ 2864151 h 2864151"/>
              <a:gd name="connsiteX51" fmla="*/ 174195 w 7893376"/>
              <a:gd name="connsiteY51" fmla="*/ 2864151 h 2864151"/>
              <a:gd name="connsiteX52" fmla="*/ 89188 w 7893376"/>
              <a:gd name="connsiteY52" fmla="*/ 2864151 h 2864151"/>
              <a:gd name="connsiteX53" fmla="*/ 37626 w 7893376"/>
              <a:gd name="connsiteY53" fmla="*/ 2864151 h 2864151"/>
              <a:gd name="connsiteX54" fmla="*/ 11149 w 7893376"/>
              <a:gd name="connsiteY54" fmla="*/ 2864151 h 2864151"/>
              <a:gd name="connsiteX55" fmla="*/ 0 w 7893376"/>
              <a:gd name="connsiteY55" fmla="*/ 2864151 h 2864151"/>
              <a:gd name="connsiteX56" fmla="*/ 0 w 7893376"/>
              <a:gd name="connsiteY56" fmla="*/ 0 h 2864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7893376" h="2864151">
                <a:moveTo>
                  <a:pt x="0" y="0"/>
                </a:moveTo>
                <a:lnTo>
                  <a:pt x="717120" y="0"/>
                </a:lnTo>
                <a:lnTo>
                  <a:pt x="1389435" y="0"/>
                </a:lnTo>
                <a:lnTo>
                  <a:pt x="2018390" y="0"/>
                </a:lnTo>
                <a:lnTo>
                  <a:pt x="2605431" y="0"/>
                </a:lnTo>
                <a:lnTo>
                  <a:pt x="3152004" y="0"/>
                </a:lnTo>
                <a:lnTo>
                  <a:pt x="3659552" y="0"/>
                </a:lnTo>
                <a:lnTo>
                  <a:pt x="4129522" y="0"/>
                </a:lnTo>
                <a:lnTo>
                  <a:pt x="4563359" y="0"/>
                </a:lnTo>
                <a:lnTo>
                  <a:pt x="4962508" y="0"/>
                </a:lnTo>
                <a:lnTo>
                  <a:pt x="5328415" y="0"/>
                </a:lnTo>
                <a:lnTo>
                  <a:pt x="5662525" y="0"/>
                </a:lnTo>
                <a:lnTo>
                  <a:pt x="5966283" y="0"/>
                </a:lnTo>
                <a:lnTo>
                  <a:pt x="6241135" y="0"/>
                </a:lnTo>
                <a:lnTo>
                  <a:pt x="6488526" y="0"/>
                </a:lnTo>
                <a:lnTo>
                  <a:pt x="6709900" y="0"/>
                </a:lnTo>
                <a:lnTo>
                  <a:pt x="6906705" y="0"/>
                </a:lnTo>
                <a:lnTo>
                  <a:pt x="7080384" y="0"/>
                </a:lnTo>
                <a:lnTo>
                  <a:pt x="7232384" y="0"/>
                </a:lnTo>
                <a:lnTo>
                  <a:pt x="7477125" y="0"/>
                </a:lnTo>
                <a:lnTo>
                  <a:pt x="7652490" y="0"/>
                </a:lnTo>
                <a:lnTo>
                  <a:pt x="7770043" y="0"/>
                </a:lnTo>
                <a:lnTo>
                  <a:pt x="7841345" y="0"/>
                </a:lnTo>
                <a:lnTo>
                  <a:pt x="7877960" y="0"/>
                </a:lnTo>
                <a:lnTo>
                  <a:pt x="7891450" y="0"/>
                </a:lnTo>
                <a:lnTo>
                  <a:pt x="7893376" y="0"/>
                </a:lnTo>
                <a:lnTo>
                  <a:pt x="7893376" y="1424213"/>
                </a:lnTo>
                <a:lnTo>
                  <a:pt x="7343668" y="1424213"/>
                </a:lnTo>
                <a:cubicBezTo>
                  <a:pt x="7213532" y="1424213"/>
                  <a:pt x="7083397" y="1424213"/>
                  <a:pt x="6951018" y="1424213"/>
                </a:cubicBezTo>
                <a:cubicBezTo>
                  <a:pt x="6879220" y="1424213"/>
                  <a:pt x="6807420" y="1421967"/>
                  <a:pt x="6735622" y="1426460"/>
                </a:cubicBezTo>
                <a:cubicBezTo>
                  <a:pt x="6679529" y="1433199"/>
                  <a:pt x="6621192" y="1444431"/>
                  <a:pt x="6567344" y="1469141"/>
                </a:cubicBezTo>
                <a:cubicBezTo>
                  <a:pt x="6455158" y="1518562"/>
                  <a:pt x="6367653" y="1603925"/>
                  <a:pt x="6307073" y="1709505"/>
                </a:cubicBezTo>
                <a:cubicBezTo>
                  <a:pt x="6044558" y="2174508"/>
                  <a:pt x="6042315" y="2181248"/>
                  <a:pt x="5782045" y="2646251"/>
                </a:cubicBezTo>
                <a:cubicBezTo>
                  <a:pt x="5741658" y="2713643"/>
                  <a:pt x="5716977" y="2787774"/>
                  <a:pt x="5708002" y="2864151"/>
                </a:cubicBezTo>
                <a:lnTo>
                  <a:pt x="5189426" y="2864151"/>
                </a:lnTo>
                <a:lnTo>
                  <a:pt x="4703249" y="2864151"/>
                </a:lnTo>
                <a:lnTo>
                  <a:pt x="4248427" y="2864151"/>
                </a:lnTo>
                <a:lnTo>
                  <a:pt x="3823916" y="2864151"/>
                </a:lnTo>
                <a:lnTo>
                  <a:pt x="3428669" y="2864151"/>
                </a:lnTo>
                <a:lnTo>
                  <a:pt x="3061641" y="2864151"/>
                </a:lnTo>
                <a:lnTo>
                  <a:pt x="2721788" y="2864151"/>
                </a:lnTo>
                <a:lnTo>
                  <a:pt x="2408064" y="2864151"/>
                </a:lnTo>
                <a:lnTo>
                  <a:pt x="2119424" y="2864151"/>
                </a:lnTo>
                <a:lnTo>
                  <a:pt x="1854822" y="2864151"/>
                </a:lnTo>
                <a:lnTo>
                  <a:pt x="1613215" y="2864151"/>
                </a:lnTo>
                <a:lnTo>
                  <a:pt x="1393555" y="2864151"/>
                </a:lnTo>
                <a:lnTo>
                  <a:pt x="1194800" y="2864151"/>
                </a:lnTo>
                <a:lnTo>
                  <a:pt x="1015902" y="2864151"/>
                </a:lnTo>
                <a:lnTo>
                  <a:pt x="713501" y="2864151"/>
                </a:lnTo>
                <a:lnTo>
                  <a:pt x="477990" y="2864151"/>
                </a:lnTo>
                <a:lnTo>
                  <a:pt x="301008" y="2864151"/>
                </a:lnTo>
                <a:lnTo>
                  <a:pt x="174195" y="2864151"/>
                </a:lnTo>
                <a:lnTo>
                  <a:pt x="89188" y="2864151"/>
                </a:lnTo>
                <a:lnTo>
                  <a:pt x="37626" y="2864151"/>
                </a:lnTo>
                <a:lnTo>
                  <a:pt x="11149" y="2864151"/>
                </a:lnTo>
                <a:lnTo>
                  <a:pt x="0" y="2864151"/>
                </a:ln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828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47052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3557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900BD1E-106D-6745-BCC4-EA41A3289C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0313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0C074D9A-3ED8-DCC3-7AE2-07A9E42A50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0313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37E8A8-F9EE-A285-FF1E-7C72507165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0581335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4839" y="1573620"/>
            <a:ext cx="3562349" cy="355738"/>
          </a:xfrm>
        </p:spPr>
        <p:txBody>
          <a:bodyPr/>
          <a:lstStyle/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6930683-2C07-515F-6B98-21313F587F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406901" y="1573620"/>
            <a:ext cx="3562349" cy="355738"/>
          </a:xfrm>
        </p:spPr>
        <p:txBody>
          <a:bodyPr/>
          <a:lstStyle/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5A4C5A24-7447-AF6B-CB8A-1CA59B1247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6900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A5FB49C-AB6F-0460-96FD-E8379B6900E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06900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DEC9EC0-0A9C-AD30-D8B4-BDAFC16D9D6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10552" y="1573620"/>
            <a:ext cx="3562349" cy="355738"/>
          </a:xfrm>
        </p:spPr>
        <p:txBody>
          <a:bodyPr/>
          <a:lstStyle/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6CFA9FC5-F07D-1CC2-DC50-3EB8E61D911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210551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ACC3CE1F-FC53-0F86-9C92-D632E6EFFFF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10551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CA0151-005B-24C8-CF3E-521AC30F0A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55245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[Light] +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yellow and orange gradient&#10;&#10;Description automatically generated">
            <a:extLst>
              <a:ext uri="{FF2B5EF4-FFF2-40B4-BE49-F238E27FC236}">
                <a16:creationId xmlns:a16="http://schemas.microsoft.com/office/drawing/2014/main" id="{816D6385-18A1-6221-5006-883352883F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6715" y="4075977"/>
            <a:ext cx="4333396" cy="292332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9856" y="6449644"/>
            <a:ext cx="2687994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92187FE-E661-7028-83F4-C00A7BBC9C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50680" y="5242706"/>
            <a:ext cx="1900238" cy="80757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DCD79BA-CAF7-9026-0080-6F10C42F5DD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52889224"/>
      </p:ext>
    </p:extLst>
  </p:cSld>
  <p:clrMapOvr>
    <a:masterClrMapping/>
  </p:clrMapOvr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+ Shap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900CA3A-D5C6-6306-F264-B33E7114A5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5276289"/>
            <a:ext cx="4892510" cy="15911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742DB7D-E407-5F5A-966C-150D9FA07A5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6519742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L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2A464A1-EE84-A23B-881D-10670F2C8A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37593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Shap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5B02303-1EE2-81CD-39CF-6C01FF93C2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811" y="0"/>
            <a:ext cx="6092517" cy="6858000"/>
          </a:xfrm>
          <a:custGeom>
            <a:avLst/>
            <a:gdLst>
              <a:gd name="connsiteX0" fmla="*/ 0 w 3702050"/>
              <a:gd name="connsiteY0" fmla="*/ 0 h 4167187"/>
              <a:gd name="connsiteX1" fmla="*/ 3702050 w 3702050"/>
              <a:gd name="connsiteY1" fmla="*/ 0 h 4167187"/>
              <a:gd name="connsiteX2" fmla="*/ 3702050 w 3702050"/>
              <a:gd name="connsiteY2" fmla="*/ 4167187 h 4167187"/>
              <a:gd name="connsiteX3" fmla="*/ 2952573 w 3702050"/>
              <a:gd name="connsiteY3" fmla="*/ 4167187 h 4167187"/>
              <a:gd name="connsiteX4" fmla="*/ 1403461 w 3702050"/>
              <a:gd name="connsiteY4" fmla="*/ 3267190 h 4167187"/>
              <a:gd name="connsiteX5" fmla="*/ 746584 w 3702050"/>
              <a:gd name="connsiteY5" fmla="*/ 3443717 h 4167187"/>
              <a:gd name="connsiteX6" fmla="*/ 333744 w 3702050"/>
              <a:gd name="connsiteY6" fmla="*/ 3685838 h 4167187"/>
              <a:gd name="connsiteX7" fmla="*/ 323134 w 3702050"/>
              <a:gd name="connsiteY7" fmla="*/ 3685838 h 4167187"/>
              <a:gd name="connsiteX8" fmla="*/ 0 w 3702050"/>
              <a:gd name="connsiteY8" fmla="*/ 3817992 h 4167187"/>
              <a:gd name="connsiteX9" fmla="*/ 0 w 3702050"/>
              <a:gd name="connsiteY9" fmla="*/ 3737980 h 4167187"/>
              <a:gd name="connsiteX10" fmla="*/ 0 w 3702050"/>
              <a:gd name="connsiteY10" fmla="*/ 0 h 4167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702050" h="4167187">
                <a:moveTo>
                  <a:pt x="0" y="0"/>
                </a:moveTo>
                <a:lnTo>
                  <a:pt x="3702050" y="0"/>
                </a:lnTo>
                <a:cubicBezTo>
                  <a:pt x="3702050" y="0"/>
                  <a:pt x="3702050" y="0"/>
                  <a:pt x="3702050" y="4167187"/>
                </a:cubicBezTo>
                <a:cubicBezTo>
                  <a:pt x="3702050" y="4167187"/>
                  <a:pt x="3702050" y="4167187"/>
                  <a:pt x="2952573" y="4167187"/>
                </a:cubicBezTo>
                <a:cubicBezTo>
                  <a:pt x="2952573" y="4167187"/>
                  <a:pt x="2952573" y="4167187"/>
                  <a:pt x="1403461" y="3267190"/>
                </a:cubicBezTo>
                <a:cubicBezTo>
                  <a:pt x="1172927" y="3134072"/>
                  <a:pt x="879695" y="3213171"/>
                  <a:pt x="746584" y="3443717"/>
                </a:cubicBezTo>
                <a:cubicBezTo>
                  <a:pt x="658807" y="3597093"/>
                  <a:pt x="498687" y="3683909"/>
                  <a:pt x="333744" y="3685838"/>
                </a:cubicBezTo>
                <a:cubicBezTo>
                  <a:pt x="333744" y="3685838"/>
                  <a:pt x="333744" y="3685838"/>
                  <a:pt x="323134" y="3685838"/>
                </a:cubicBezTo>
                <a:cubicBezTo>
                  <a:pt x="197739" y="3687768"/>
                  <a:pt x="83919" y="3737928"/>
                  <a:pt x="0" y="3817992"/>
                </a:cubicBezTo>
                <a:lnTo>
                  <a:pt x="0" y="3737980"/>
                </a:lnTo>
                <a:cubicBezTo>
                  <a:pt x="0" y="3251545"/>
                  <a:pt x="0" y="2213818"/>
                  <a:pt x="0" y="0"/>
                </a:cubicBezTo>
                <a:close/>
              </a:path>
            </a:pathLst>
          </a:custGeom>
        </p:spPr>
        <p:txBody>
          <a:bodyPr wrap="square" lIns="90000" tIns="90000">
            <a:noAutofit/>
          </a:bodyPr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1FBC89-74CA-0EA5-E00A-CE9A96E9D7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038740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/Caption + Large Copy [Dar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  <a:solidFill>
            <a:schemeClr val="tx1"/>
          </a:solidFill>
        </p:spPr>
        <p:txBody>
          <a:bodyPr lIns="90000" tIns="90000"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AE4799D-5266-2C4B-5856-EB8982C687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4000" y="6134400"/>
            <a:ext cx="3438000" cy="641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5670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Image,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orange gradient&#10;&#10;Description automatically generated">
            <a:extLst>
              <a:ext uri="{FF2B5EF4-FFF2-40B4-BE49-F238E27FC236}">
                <a16:creationId xmlns:a16="http://schemas.microsoft.com/office/drawing/2014/main" id="{D2F55EE1-7460-5919-DC57-5004602FC1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6535" y="5010151"/>
            <a:ext cx="3449872" cy="1851438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DA7FDAF-9EA2-3D56-E09E-312DA2459881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397535" y="0"/>
            <a:ext cx="6794466" cy="6858000"/>
          </a:xfrm>
          <a:custGeom>
            <a:avLst/>
            <a:gdLst>
              <a:gd name="connsiteX0" fmla="*/ 0 w 2716213"/>
              <a:gd name="connsiteY0" fmla="*/ 0 h 2741612"/>
              <a:gd name="connsiteX1" fmla="*/ 2716213 w 2716213"/>
              <a:gd name="connsiteY1" fmla="*/ 0 h 2741612"/>
              <a:gd name="connsiteX2" fmla="*/ 2716213 w 2716213"/>
              <a:gd name="connsiteY2" fmla="*/ 2741612 h 2741612"/>
              <a:gd name="connsiteX3" fmla="*/ 1821386 w 2716213"/>
              <a:gd name="connsiteY3" fmla="*/ 2741612 h 2741612"/>
              <a:gd name="connsiteX4" fmla="*/ 1808693 w 2716213"/>
              <a:gd name="connsiteY4" fmla="*/ 2468720 h 2741612"/>
              <a:gd name="connsiteX5" fmla="*/ 1707153 w 2716213"/>
              <a:gd name="connsiteY5" fmla="*/ 2221214 h 2741612"/>
              <a:gd name="connsiteX6" fmla="*/ 1497725 w 2716213"/>
              <a:gd name="connsiteY6" fmla="*/ 2062556 h 2741612"/>
              <a:gd name="connsiteX7" fmla="*/ 1237527 w 2716213"/>
              <a:gd name="connsiteY7" fmla="*/ 2030824 h 2741612"/>
              <a:gd name="connsiteX8" fmla="*/ 1104255 w 2716213"/>
              <a:gd name="connsiteY8" fmla="*/ 2062556 h 2741612"/>
              <a:gd name="connsiteX9" fmla="*/ 990022 w 2716213"/>
              <a:gd name="connsiteY9" fmla="*/ 2132365 h 2741612"/>
              <a:gd name="connsiteX10" fmla="*/ 742516 w 2716213"/>
              <a:gd name="connsiteY10" fmla="*/ 2233906 h 2741612"/>
              <a:gd name="connsiteX11" fmla="*/ 482318 w 2716213"/>
              <a:gd name="connsiteY11" fmla="*/ 2195828 h 2741612"/>
              <a:gd name="connsiteX12" fmla="*/ 272891 w 2716213"/>
              <a:gd name="connsiteY12" fmla="*/ 2037170 h 2741612"/>
              <a:gd name="connsiteX13" fmla="*/ 171350 w 2716213"/>
              <a:gd name="connsiteY13" fmla="*/ 1789664 h 2741612"/>
              <a:gd name="connsiteX14" fmla="*/ 203082 w 2716213"/>
              <a:gd name="connsiteY14" fmla="*/ 1529464 h 2741612"/>
              <a:gd name="connsiteX15" fmla="*/ 368085 w 2716213"/>
              <a:gd name="connsiteY15" fmla="*/ 1320036 h 2741612"/>
              <a:gd name="connsiteX16" fmla="*/ 526742 w 2716213"/>
              <a:gd name="connsiteY16" fmla="*/ 1104261 h 2741612"/>
              <a:gd name="connsiteX17" fmla="*/ 558474 w 2716213"/>
              <a:gd name="connsiteY17" fmla="*/ 844061 h 2741612"/>
              <a:gd name="connsiteX18" fmla="*/ 456933 w 2716213"/>
              <a:gd name="connsiteY18" fmla="*/ 596555 h 2741612"/>
              <a:gd name="connsiteX19" fmla="*/ 0 w 2716213"/>
              <a:gd name="connsiteY19" fmla="*/ 0 h 2741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716213" h="2741612">
                <a:moveTo>
                  <a:pt x="0" y="0"/>
                </a:moveTo>
                <a:lnTo>
                  <a:pt x="2716213" y="0"/>
                </a:lnTo>
                <a:cubicBezTo>
                  <a:pt x="2716213" y="2741612"/>
                  <a:pt x="2716213" y="2741612"/>
                  <a:pt x="2716213" y="2741612"/>
                </a:cubicBezTo>
                <a:cubicBezTo>
                  <a:pt x="1821386" y="2741612"/>
                  <a:pt x="1821386" y="2741612"/>
                  <a:pt x="1821386" y="2741612"/>
                </a:cubicBezTo>
                <a:cubicBezTo>
                  <a:pt x="1827732" y="2652764"/>
                  <a:pt x="1821386" y="2557569"/>
                  <a:pt x="1808693" y="2468720"/>
                </a:cubicBezTo>
                <a:cubicBezTo>
                  <a:pt x="1796001" y="2373525"/>
                  <a:pt x="1764269" y="2291023"/>
                  <a:pt x="1707153" y="2221214"/>
                </a:cubicBezTo>
                <a:cubicBezTo>
                  <a:pt x="1656382" y="2151404"/>
                  <a:pt x="1580227" y="2094287"/>
                  <a:pt x="1497725" y="2062556"/>
                </a:cubicBezTo>
                <a:cubicBezTo>
                  <a:pt x="1415223" y="2030824"/>
                  <a:pt x="1326375" y="2018131"/>
                  <a:pt x="1237527" y="2030824"/>
                </a:cubicBezTo>
                <a:cubicBezTo>
                  <a:pt x="1186757" y="2037170"/>
                  <a:pt x="1142333" y="2043517"/>
                  <a:pt x="1104255" y="2062556"/>
                </a:cubicBezTo>
                <a:cubicBezTo>
                  <a:pt x="1059831" y="2081594"/>
                  <a:pt x="1021753" y="2100633"/>
                  <a:pt x="990022" y="2132365"/>
                </a:cubicBezTo>
                <a:cubicBezTo>
                  <a:pt x="920213" y="2183136"/>
                  <a:pt x="837711" y="2221214"/>
                  <a:pt x="742516" y="2233906"/>
                </a:cubicBezTo>
                <a:cubicBezTo>
                  <a:pt x="653668" y="2246599"/>
                  <a:pt x="564820" y="2227560"/>
                  <a:pt x="482318" y="2195828"/>
                </a:cubicBezTo>
                <a:cubicBezTo>
                  <a:pt x="399817" y="2164097"/>
                  <a:pt x="323661" y="2106980"/>
                  <a:pt x="272891" y="2037170"/>
                </a:cubicBezTo>
                <a:cubicBezTo>
                  <a:pt x="215774" y="1967361"/>
                  <a:pt x="184043" y="1884858"/>
                  <a:pt x="171350" y="1789664"/>
                </a:cubicBezTo>
                <a:cubicBezTo>
                  <a:pt x="158658" y="1700815"/>
                  <a:pt x="171350" y="1605620"/>
                  <a:pt x="203082" y="1529464"/>
                </a:cubicBezTo>
                <a:cubicBezTo>
                  <a:pt x="241159" y="1446962"/>
                  <a:pt x="291930" y="1370806"/>
                  <a:pt x="368085" y="1320036"/>
                </a:cubicBezTo>
                <a:cubicBezTo>
                  <a:pt x="437894" y="1262919"/>
                  <a:pt x="495011" y="1193109"/>
                  <a:pt x="526742" y="1104261"/>
                </a:cubicBezTo>
                <a:cubicBezTo>
                  <a:pt x="558474" y="1028105"/>
                  <a:pt x="571167" y="939256"/>
                  <a:pt x="558474" y="844061"/>
                </a:cubicBezTo>
                <a:cubicBezTo>
                  <a:pt x="552128" y="748866"/>
                  <a:pt x="514050" y="666364"/>
                  <a:pt x="456933" y="596555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546576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020628" cy="36905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5465762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09574744"/>
      </p:ext>
    </p:extLst>
  </p:cSld>
  <p:clrMapOvr>
    <a:masterClrMapping/>
  </p:clrMapOvr>
  <p:hf sldNum="0"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Shape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olorful circle and black background&#10;&#10;Description automatically generated">
            <a:extLst>
              <a:ext uri="{FF2B5EF4-FFF2-40B4-BE49-F238E27FC236}">
                <a16:creationId xmlns:a16="http://schemas.microsoft.com/office/drawing/2014/main" id="{CCD54DE9-51DB-FB3B-B34D-8A2AF19C9C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0100" y="0"/>
            <a:ext cx="50419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5491161" cy="36905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5465762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4560370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ue and pink circle with black background&#10;&#10;Description automatically generated">
            <a:extLst>
              <a:ext uri="{FF2B5EF4-FFF2-40B4-BE49-F238E27FC236}">
                <a16:creationId xmlns:a16="http://schemas.microsoft.com/office/drawing/2014/main" id="{5C3534BA-B612-8BE4-57E8-98FF2A63A7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4001" y="0"/>
            <a:ext cx="4317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400438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orful shapes on a black background&#10;&#10;Description automatically generated">
            <a:extLst>
              <a:ext uri="{FF2B5EF4-FFF2-40B4-BE49-F238E27FC236}">
                <a16:creationId xmlns:a16="http://schemas.microsoft.com/office/drawing/2014/main" id="{F1B3F858-4202-3ECC-4CF1-014AFCF8CE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901" y="931963"/>
            <a:ext cx="4579843" cy="4702076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2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5pPr>
          </a:lstStyle>
          <a:p>
            <a:pPr lvl="0"/>
            <a:r>
              <a:rPr lang="en-US" dirty="0"/>
              <a:t>“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013477F-ACAC-7B41-B204-AC139F13B7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A5A8B1AB-659B-E21E-7B3A-8E36BF137D4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93633" y="1008462"/>
            <a:ext cx="4240340" cy="4417235"/>
          </a:xfrm>
          <a:custGeom>
            <a:avLst/>
            <a:gdLst>
              <a:gd name="connsiteX0" fmla="*/ 2096858 w 3868865"/>
              <a:gd name="connsiteY0" fmla="*/ 3 h 4030263"/>
              <a:gd name="connsiteX1" fmla="*/ 2819851 w 3868865"/>
              <a:gd name="connsiteY1" fmla="*/ 95046 h 4030263"/>
              <a:gd name="connsiteX2" fmla="*/ 3868865 w 3868865"/>
              <a:gd name="connsiteY2" fmla="*/ 1144367 h 4030263"/>
              <a:gd name="connsiteX3" fmla="*/ 3716746 w 3868865"/>
              <a:gd name="connsiteY3" fmla="*/ 1689723 h 4030263"/>
              <a:gd name="connsiteX4" fmla="*/ 3728915 w 3868865"/>
              <a:gd name="connsiteY4" fmla="*/ 2192472 h 4030263"/>
              <a:gd name="connsiteX5" fmla="*/ 3786112 w 3868865"/>
              <a:gd name="connsiteY5" fmla="*/ 2571056 h 4030263"/>
              <a:gd name="connsiteX6" fmla="*/ 3536637 w 3868865"/>
              <a:gd name="connsiteY6" fmla="*/ 2909468 h 4030263"/>
              <a:gd name="connsiteX7" fmla="*/ 2627573 w 3868865"/>
              <a:gd name="connsiteY7" fmla="*/ 3435346 h 4030263"/>
              <a:gd name="connsiteX8" fmla="*/ 2616620 w 3868865"/>
              <a:gd name="connsiteY8" fmla="*/ 3440215 h 4030263"/>
              <a:gd name="connsiteX9" fmla="*/ 2606885 w 3868865"/>
              <a:gd name="connsiteY9" fmla="*/ 3446302 h 4030263"/>
              <a:gd name="connsiteX10" fmla="*/ 1718509 w 3868865"/>
              <a:gd name="connsiteY10" fmla="*/ 3960007 h 4030263"/>
              <a:gd name="connsiteX11" fmla="*/ 1001723 w 3868865"/>
              <a:gd name="connsiteY11" fmla="*/ 3767672 h 4030263"/>
              <a:gd name="connsiteX12" fmla="*/ 808228 w 3868865"/>
              <a:gd name="connsiteY12" fmla="*/ 3352569 h 4030263"/>
              <a:gd name="connsiteX13" fmla="*/ 196100 w 3868865"/>
              <a:gd name="connsiteY13" fmla="*/ 2746348 h 4030263"/>
              <a:gd name="connsiteX14" fmla="*/ 23293 w 3868865"/>
              <a:gd name="connsiteY14" fmla="*/ 1929533 h 4030263"/>
              <a:gd name="connsiteX15" fmla="*/ 20859 w 3868865"/>
              <a:gd name="connsiteY15" fmla="*/ 878994 h 4030263"/>
              <a:gd name="connsiteX16" fmla="*/ 91442 w 3868865"/>
              <a:gd name="connsiteY16" fmla="*/ 617272 h 4030263"/>
              <a:gd name="connsiteX17" fmla="*/ 808228 w 3868865"/>
              <a:gd name="connsiteY17" fmla="*/ 424937 h 4030263"/>
              <a:gd name="connsiteX18" fmla="*/ 1322999 w 3868865"/>
              <a:gd name="connsiteY18" fmla="*/ 311727 h 4030263"/>
              <a:gd name="connsiteX19" fmla="*/ 1787875 w 3868865"/>
              <a:gd name="connsiteY19" fmla="*/ 146173 h 4030263"/>
              <a:gd name="connsiteX20" fmla="*/ 2096858 w 3868865"/>
              <a:gd name="connsiteY20" fmla="*/ 3 h 4030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865" h="4030263">
                <a:moveTo>
                  <a:pt x="2096858" y="3"/>
                </a:moveTo>
                <a:cubicBezTo>
                  <a:pt x="2313295" y="-532"/>
                  <a:pt x="2585588" y="95046"/>
                  <a:pt x="2819851" y="95046"/>
                </a:cubicBezTo>
                <a:cubicBezTo>
                  <a:pt x="3399121" y="95046"/>
                  <a:pt x="3868865" y="564927"/>
                  <a:pt x="3868865" y="1144367"/>
                </a:cubicBezTo>
                <a:cubicBezTo>
                  <a:pt x="3868865" y="1344006"/>
                  <a:pt x="3812885" y="1531472"/>
                  <a:pt x="3716746" y="1689723"/>
                </a:cubicBezTo>
                <a:cubicBezTo>
                  <a:pt x="3638861" y="1843104"/>
                  <a:pt x="3636427" y="2031787"/>
                  <a:pt x="3728915" y="2192472"/>
                </a:cubicBezTo>
                <a:cubicBezTo>
                  <a:pt x="3792197" y="2302030"/>
                  <a:pt x="3816536" y="2435934"/>
                  <a:pt x="3786112" y="2571056"/>
                </a:cubicBezTo>
                <a:cubicBezTo>
                  <a:pt x="3753254" y="2719568"/>
                  <a:pt x="3659549" y="2838864"/>
                  <a:pt x="3536637" y="2909468"/>
                </a:cubicBezTo>
                <a:cubicBezTo>
                  <a:pt x="3536637" y="2909468"/>
                  <a:pt x="3536637" y="2909468"/>
                  <a:pt x="2627573" y="3435346"/>
                </a:cubicBezTo>
                <a:cubicBezTo>
                  <a:pt x="2623922" y="3436564"/>
                  <a:pt x="2620271" y="3438998"/>
                  <a:pt x="2616620" y="3440215"/>
                </a:cubicBezTo>
                <a:cubicBezTo>
                  <a:pt x="2616620" y="3440215"/>
                  <a:pt x="2616620" y="3440215"/>
                  <a:pt x="2606885" y="3446302"/>
                </a:cubicBezTo>
                <a:cubicBezTo>
                  <a:pt x="2606885" y="3446302"/>
                  <a:pt x="2606885" y="3446302"/>
                  <a:pt x="1718509" y="3960007"/>
                </a:cubicBezTo>
                <a:cubicBezTo>
                  <a:pt x="1467816" y="4104867"/>
                  <a:pt x="1146541" y="4018438"/>
                  <a:pt x="1001723" y="3767672"/>
                </a:cubicBezTo>
                <a:cubicBezTo>
                  <a:pt x="904367" y="3598466"/>
                  <a:pt x="716956" y="3509602"/>
                  <a:pt x="808228" y="3352569"/>
                </a:cubicBezTo>
                <a:cubicBezTo>
                  <a:pt x="953045" y="3101803"/>
                  <a:pt x="197317" y="2746348"/>
                  <a:pt x="196100" y="2746348"/>
                </a:cubicBezTo>
                <a:cubicBezTo>
                  <a:pt x="-93535" y="2746348"/>
                  <a:pt x="23293" y="2219253"/>
                  <a:pt x="23293" y="1929533"/>
                </a:cubicBezTo>
                <a:cubicBezTo>
                  <a:pt x="23293" y="1929533"/>
                  <a:pt x="23293" y="1929533"/>
                  <a:pt x="20859" y="878994"/>
                </a:cubicBezTo>
                <a:cubicBezTo>
                  <a:pt x="20859" y="790130"/>
                  <a:pt x="43981" y="700049"/>
                  <a:pt x="91442" y="617272"/>
                </a:cubicBezTo>
                <a:cubicBezTo>
                  <a:pt x="236260" y="365289"/>
                  <a:pt x="557535" y="280077"/>
                  <a:pt x="808228" y="424937"/>
                </a:cubicBezTo>
                <a:cubicBezTo>
                  <a:pt x="808228" y="424937"/>
                  <a:pt x="808228" y="424937"/>
                  <a:pt x="1322999" y="311727"/>
                </a:cubicBezTo>
                <a:cubicBezTo>
                  <a:pt x="1460515" y="281294"/>
                  <a:pt x="1780573" y="155911"/>
                  <a:pt x="1787875" y="146173"/>
                </a:cubicBezTo>
                <a:cubicBezTo>
                  <a:pt x="1857242" y="35245"/>
                  <a:pt x="1966996" y="324"/>
                  <a:pt x="2096858" y="3"/>
                </a:cubicBezTo>
                <a:close/>
              </a:path>
            </a:pathLst>
          </a:custGeom>
        </p:spPr>
        <p:txBody>
          <a:bodyPr wrap="square" tIns="180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1006595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57483916-EB2E-87DB-98E8-A966CED58C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8842" y="4776791"/>
            <a:ext cx="3348165" cy="2081210"/>
          </a:xfrm>
          <a:prstGeom prst="rect">
            <a:avLst/>
          </a:prstGeom>
        </p:spPr>
      </p:pic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66138527-5471-FB55-B600-1CDB5D0A426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428529" y="0"/>
            <a:ext cx="6763471" cy="6858000"/>
          </a:xfrm>
          <a:custGeom>
            <a:avLst/>
            <a:gdLst>
              <a:gd name="connsiteX0" fmla="*/ 377459 w 3359817"/>
              <a:gd name="connsiteY0" fmla="*/ 0 h 3406775"/>
              <a:gd name="connsiteX1" fmla="*/ 3359817 w 3359817"/>
              <a:gd name="connsiteY1" fmla="*/ 0 h 3406775"/>
              <a:gd name="connsiteX2" fmla="*/ 3359817 w 3359817"/>
              <a:gd name="connsiteY2" fmla="*/ 3406775 h 3406775"/>
              <a:gd name="connsiteX3" fmla="*/ 2223681 w 3359817"/>
              <a:gd name="connsiteY3" fmla="*/ 3406775 h 3406775"/>
              <a:gd name="connsiteX4" fmla="*/ 740392 w 3359817"/>
              <a:gd name="connsiteY4" fmla="*/ 2562967 h 3406775"/>
              <a:gd name="connsiteX5" fmla="*/ 46086 w 3359817"/>
              <a:gd name="connsiteY5" fmla="*/ 1939969 h 3406775"/>
              <a:gd name="connsiteX6" fmla="*/ 235442 w 3359817"/>
              <a:gd name="connsiteY6" fmla="*/ 1033073 h 3406775"/>
              <a:gd name="connsiteX7" fmla="*/ 424798 w 3359817"/>
              <a:gd name="connsiteY7" fmla="*/ 126177 h 3406775"/>
              <a:gd name="connsiteX8" fmla="*/ 377459 w 3359817"/>
              <a:gd name="connsiteY8" fmla="*/ 0 h 340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9817" h="3406775">
                <a:moveTo>
                  <a:pt x="377459" y="0"/>
                </a:moveTo>
                <a:lnTo>
                  <a:pt x="3359817" y="0"/>
                </a:lnTo>
                <a:cubicBezTo>
                  <a:pt x="3359817" y="3406775"/>
                  <a:pt x="3359817" y="3406775"/>
                  <a:pt x="3359817" y="3406775"/>
                </a:cubicBezTo>
                <a:cubicBezTo>
                  <a:pt x="2223681" y="3406775"/>
                  <a:pt x="2223681" y="3406775"/>
                  <a:pt x="2223681" y="3406775"/>
                </a:cubicBezTo>
                <a:cubicBezTo>
                  <a:pt x="1837079" y="2980928"/>
                  <a:pt x="1324239" y="2681258"/>
                  <a:pt x="740392" y="2562967"/>
                </a:cubicBezTo>
                <a:cubicBezTo>
                  <a:pt x="416908" y="2491993"/>
                  <a:pt x="148654" y="2255411"/>
                  <a:pt x="46086" y="1939969"/>
                </a:cubicBezTo>
                <a:cubicBezTo>
                  <a:pt x="-56482" y="1624527"/>
                  <a:pt x="14527" y="1277541"/>
                  <a:pt x="235442" y="1033073"/>
                </a:cubicBezTo>
                <a:cubicBezTo>
                  <a:pt x="456358" y="788605"/>
                  <a:pt x="535256" y="441619"/>
                  <a:pt x="424798" y="126177"/>
                </a:cubicBezTo>
                <a:cubicBezTo>
                  <a:pt x="416908" y="78861"/>
                  <a:pt x="393239" y="39430"/>
                  <a:pt x="377459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36" y="698400"/>
            <a:ext cx="5614985" cy="5004000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 dirty="0"/>
              <a:t>“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93DC24-9723-62C8-F4D6-B9024A75AC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0085689"/>
      </p:ext>
    </p:extLst>
  </p:cSld>
  <p:clrMapOvr>
    <a:masterClrMapping/>
  </p:clrMapOvr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circles on a black background&#10;&#10;Description automatically generated">
            <a:extLst>
              <a:ext uri="{FF2B5EF4-FFF2-40B4-BE49-F238E27FC236}">
                <a16:creationId xmlns:a16="http://schemas.microsoft.com/office/drawing/2014/main" id="{CCEFF532-0F9A-0488-86B3-7965977CFD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500" y="0"/>
            <a:ext cx="47625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36" y="698400"/>
            <a:ext cx="5614985" cy="5004000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 dirty="0"/>
              <a:t>“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93DC24-9723-62C8-F4D6-B9024A75AC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4835594"/>
      </p:ext>
    </p:extLst>
  </p:cSld>
  <p:clrMapOvr>
    <a:masterClrMapping/>
  </p:clrMapOvr>
  <p:hf sldNum="0"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75F0A8D-0120-75B1-B12F-5E64C97F25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041B38E8-6A7F-0F95-D2F5-B1112565052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4AF94E-695F-27BB-AE3B-C84EADC2889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32800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54402087-7467-27FD-561D-E2965002769E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4326163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29385420-6F31-EC68-9C2D-7259D954F02B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8119526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E6770A-1D4D-AD1F-F2F7-085CEBCF79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2456134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30324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2B7FAE0-3A20-3BA3-BBC0-9EF931A4140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830324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BE7DE02-9488-C606-02DD-66DBAE64E2D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830324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1D61909-44A1-96C5-24EC-29733C083C5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542968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8F03D7E-D948-AE8B-6268-D0445FA4845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542968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4A89A1F-F10B-C531-B279-7F71EB330ED8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542968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Picture Placeholder 11">
            <a:extLst>
              <a:ext uri="{FF2B5EF4-FFF2-40B4-BE49-F238E27FC236}">
                <a16:creationId xmlns:a16="http://schemas.microsoft.com/office/drawing/2014/main" id="{F107629B-0875-A1BC-15AB-C67AC1624DC0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5364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49B4C2D4-3903-C213-FD24-64CE96C1979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364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678E3C09-3971-E762-E888-4774BB750A4A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5364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2" name="Picture Placeholder 11">
            <a:extLst>
              <a:ext uri="{FF2B5EF4-FFF2-40B4-BE49-F238E27FC236}">
                <a16:creationId xmlns:a16="http://schemas.microsoft.com/office/drawing/2014/main" id="{FD5D5F0F-3A8C-9DD5-15CE-6B7C3E9DB5BB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2388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3" name="Picture Placeholder 11">
            <a:extLst>
              <a:ext uri="{FF2B5EF4-FFF2-40B4-BE49-F238E27FC236}">
                <a16:creationId xmlns:a16="http://schemas.microsoft.com/office/drawing/2014/main" id="{780CB698-AA0E-BBD2-304B-B4C34811DE8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388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4" name="Picture Placeholder 11">
            <a:extLst>
              <a:ext uri="{FF2B5EF4-FFF2-40B4-BE49-F238E27FC236}">
                <a16:creationId xmlns:a16="http://schemas.microsoft.com/office/drawing/2014/main" id="{C2BCE056-E4A2-EC44-5C8D-36D0C79AB593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2388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A31338B-0823-6532-C45C-F95060AF7B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450955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E5924D82-B442-36B8-3020-4B80CF88B46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310313" y="385763"/>
            <a:ext cx="5462587" cy="56657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06E48C0-76C8-28BD-C1B7-163ED41712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98B935A-2F64-9B30-B028-533AFFCD81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55466171"/>
      </p:ext>
    </p:extLst>
  </p:cSld>
  <p:clrMapOvr>
    <a:masterClrMapping/>
  </p:clrMapOvr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able Placeholder 9">
            <a:extLst>
              <a:ext uri="{FF2B5EF4-FFF2-40B4-BE49-F238E27FC236}">
                <a16:creationId xmlns:a16="http://schemas.microsoft.com/office/drawing/2014/main" id="{23A5ABD4-0980-C4E1-2D35-C1A5E7B7C5AF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310313" y="1947863"/>
            <a:ext cx="5462587" cy="41036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en-US"/>
              <a:t>Click icon to add tabl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10D3C37-C70E-A0DC-24F2-9973C328C5E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13051" y="1573620"/>
            <a:ext cx="4770000" cy="3361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CA4EA38-F567-390A-BFCA-BAFFDD365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A10CA66-7402-A280-D0B7-C8DFD634EA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34895045"/>
      </p:ext>
    </p:extLst>
  </p:cSld>
  <p:clrMapOvr>
    <a:masterClrMapping/>
  </p:clrMapOvr>
  <p:hf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489E1D8-D4B0-C77A-AB21-F17122178A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73A851-41FB-11CE-7794-1E1CC5D0D8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40210906"/>
      </p:ext>
    </p:extLst>
  </p:cSld>
  <p:clrMapOvr>
    <a:masterClrMapping/>
  </p:clrMapOvr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C29F56FE-6896-93B5-300C-73E8064C8D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95F338-020C-AD1A-58C0-1E2252F80F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299143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7619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5BEA9E99-0C18-0E13-D81E-E2F2149CBA4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901950 w 2901950"/>
              <a:gd name="connsiteY7" fmla="*/ 356482 h 1638300"/>
              <a:gd name="connsiteX8" fmla="*/ 2467413 w 2901950"/>
              <a:gd name="connsiteY8" fmla="*/ 656079 h 1638300"/>
              <a:gd name="connsiteX9" fmla="*/ 2463635 w 2901950"/>
              <a:gd name="connsiteY9" fmla="*/ 663663 h 1638300"/>
              <a:gd name="connsiteX10" fmla="*/ 2350277 w 2901950"/>
              <a:gd name="connsiteY10" fmla="*/ 982222 h 1638300"/>
              <a:gd name="connsiteX11" fmla="*/ 2350277 w 2901950"/>
              <a:gd name="connsiteY11" fmla="*/ 1312157 h 1638300"/>
              <a:gd name="connsiteX12" fmla="*/ 2350277 w 2901950"/>
              <a:gd name="connsiteY12" fmla="*/ 1315949 h 1638300"/>
              <a:gd name="connsiteX13" fmla="*/ 2320049 w 2901950"/>
              <a:gd name="connsiteY13" fmla="*/ 1331119 h 1638300"/>
              <a:gd name="connsiteX14" fmla="*/ 2029098 w 2901950"/>
              <a:gd name="connsiteY14" fmla="*/ 1501775 h 1638300"/>
              <a:gd name="connsiteX15" fmla="*/ 1915741 w 2901950"/>
              <a:gd name="connsiteY15" fmla="*/ 1615546 h 1638300"/>
              <a:gd name="connsiteX16" fmla="*/ 1904405 w 2901950"/>
              <a:gd name="connsiteY16" fmla="*/ 1638300 h 1638300"/>
              <a:gd name="connsiteX17" fmla="*/ 1741926 w 2901950"/>
              <a:gd name="connsiteY17" fmla="*/ 1638300 h 1638300"/>
              <a:gd name="connsiteX18" fmla="*/ 1160024 w 2901950"/>
              <a:gd name="connsiteY18" fmla="*/ 1638300 h 1638300"/>
              <a:gd name="connsiteX19" fmla="*/ 581902 w 2901950"/>
              <a:gd name="connsiteY19" fmla="*/ 1638300 h 1638300"/>
              <a:gd name="connsiteX20" fmla="*/ 0 w 2901950"/>
              <a:gd name="connsiteY20" fmla="*/ 1638300 h 1638300"/>
              <a:gd name="connsiteX21" fmla="*/ 0 w 2901950"/>
              <a:gd name="connsiteY21" fmla="*/ 1312157 h 1638300"/>
              <a:gd name="connsiteX22" fmla="*/ 0 w 2901950"/>
              <a:gd name="connsiteY22" fmla="*/ 982222 h 1638300"/>
              <a:gd name="connsiteX23" fmla="*/ 0 w 2901950"/>
              <a:gd name="connsiteY23" fmla="*/ 656079 h 1638300"/>
              <a:gd name="connsiteX24" fmla="*/ 0 w 2901950"/>
              <a:gd name="connsiteY24" fmla="*/ 326143 h 1638300"/>
              <a:gd name="connsiteX25" fmla="*/ 0 w 2901950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901950" y="326143"/>
                  <a:pt x="2901950" y="326143"/>
                  <a:pt x="2901950" y="356482"/>
                </a:cubicBezTo>
                <a:cubicBezTo>
                  <a:pt x="2720578" y="386821"/>
                  <a:pt x="2561878" y="496799"/>
                  <a:pt x="2467413" y="656079"/>
                </a:cubicBezTo>
                <a:cubicBezTo>
                  <a:pt x="2467413" y="659871"/>
                  <a:pt x="2463635" y="659871"/>
                  <a:pt x="2463635" y="663663"/>
                </a:cubicBezTo>
                <a:cubicBezTo>
                  <a:pt x="2406956" y="762265"/>
                  <a:pt x="2365392" y="872243"/>
                  <a:pt x="2350277" y="982222"/>
                </a:cubicBezTo>
                <a:cubicBezTo>
                  <a:pt x="2331384" y="1092200"/>
                  <a:pt x="2331384" y="1202179"/>
                  <a:pt x="2350277" y="1312157"/>
                </a:cubicBezTo>
                <a:cubicBezTo>
                  <a:pt x="2350277" y="1312157"/>
                  <a:pt x="2350277" y="1312157"/>
                  <a:pt x="2350277" y="1315949"/>
                </a:cubicBezTo>
                <a:cubicBezTo>
                  <a:pt x="2350277" y="1315949"/>
                  <a:pt x="2350277" y="1315949"/>
                  <a:pt x="2320049" y="1331119"/>
                </a:cubicBezTo>
                <a:cubicBezTo>
                  <a:pt x="2320049" y="1331119"/>
                  <a:pt x="2320049" y="1331119"/>
                  <a:pt x="2029098" y="1501775"/>
                </a:cubicBezTo>
                <a:cubicBezTo>
                  <a:pt x="1983755" y="1528322"/>
                  <a:pt x="1942191" y="1566245"/>
                  <a:pt x="1915741" y="1615546"/>
                </a:cubicBezTo>
                <a:cubicBezTo>
                  <a:pt x="1911962" y="1623131"/>
                  <a:pt x="1908183" y="1630715"/>
                  <a:pt x="1904405" y="1638300"/>
                </a:cubicBezTo>
                <a:cubicBezTo>
                  <a:pt x="1904405" y="1638300"/>
                  <a:pt x="1904405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7" name="Picture 6" descr="A blue and pink circle with black background&#10;&#10;Description automatically generated">
            <a:extLst>
              <a:ext uri="{FF2B5EF4-FFF2-40B4-BE49-F238E27FC236}">
                <a16:creationId xmlns:a16="http://schemas.microsoft.com/office/drawing/2014/main" id="{EE80A020-17A0-9A32-B7DF-F8F78FB38B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4001" y="0"/>
            <a:ext cx="4317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827232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and black background&#10;&#10;Description automatically generated">
            <a:extLst>
              <a:ext uri="{FF2B5EF4-FFF2-40B4-BE49-F238E27FC236}">
                <a16:creationId xmlns:a16="http://schemas.microsoft.com/office/drawing/2014/main" id="{A0CB5D0A-51F7-B26F-7F31-F6DE564688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8600" y="0"/>
            <a:ext cx="43434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E686FA-8940-A88B-138F-B4BB47A6D0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2846509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red circle&#10;&#10;Description automatically generated">
            <a:extLst>
              <a:ext uri="{FF2B5EF4-FFF2-40B4-BE49-F238E27FC236}">
                <a16:creationId xmlns:a16="http://schemas.microsoft.com/office/drawing/2014/main" id="{5410D678-9687-A042-D775-92BC6ABD94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2100" y="0"/>
            <a:ext cx="17399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E686FA-8940-A88B-138F-B4BB47A6D0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3676624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DC0324F7-D5A3-B683-26D9-09630AC751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8842" y="4776791"/>
            <a:ext cx="3348165" cy="2081210"/>
          </a:xfrm>
          <a:prstGeom prst="rect">
            <a:avLst/>
          </a:prstGeom>
        </p:spPr>
      </p:pic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E425BEBA-A534-F7E4-3ACD-72010131913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428529" y="0"/>
            <a:ext cx="6763471" cy="6858000"/>
          </a:xfrm>
          <a:custGeom>
            <a:avLst/>
            <a:gdLst>
              <a:gd name="connsiteX0" fmla="*/ 377459 w 3359817"/>
              <a:gd name="connsiteY0" fmla="*/ 0 h 3406775"/>
              <a:gd name="connsiteX1" fmla="*/ 3359817 w 3359817"/>
              <a:gd name="connsiteY1" fmla="*/ 0 h 3406775"/>
              <a:gd name="connsiteX2" fmla="*/ 3359817 w 3359817"/>
              <a:gd name="connsiteY2" fmla="*/ 3406775 h 3406775"/>
              <a:gd name="connsiteX3" fmla="*/ 2223681 w 3359817"/>
              <a:gd name="connsiteY3" fmla="*/ 3406775 h 3406775"/>
              <a:gd name="connsiteX4" fmla="*/ 740392 w 3359817"/>
              <a:gd name="connsiteY4" fmla="*/ 2562967 h 3406775"/>
              <a:gd name="connsiteX5" fmla="*/ 46086 w 3359817"/>
              <a:gd name="connsiteY5" fmla="*/ 1939969 h 3406775"/>
              <a:gd name="connsiteX6" fmla="*/ 235442 w 3359817"/>
              <a:gd name="connsiteY6" fmla="*/ 1033073 h 3406775"/>
              <a:gd name="connsiteX7" fmla="*/ 424798 w 3359817"/>
              <a:gd name="connsiteY7" fmla="*/ 126177 h 3406775"/>
              <a:gd name="connsiteX8" fmla="*/ 377459 w 3359817"/>
              <a:gd name="connsiteY8" fmla="*/ 0 h 340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9817" h="3406775">
                <a:moveTo>
                  <a:pt x="377459" y="0"/>
                </a:moveTo>
                <a:lnTo>
                  <a:pt x="3359817" y="0"/>
                </a:lnTo>
                <a:cubicBezTo>
                  <a:pt x="3359817" y="3406775"/>
                  <a:pt x="3359817" y="3406775"/>
                  <a:pt x="3359817" y="3406775"/>
                </a:cubicBezTo>
                <a:cubicBezTo>
                  <a:pt x="2223681" y="3406775"/>
                  <a:pt x="2223681" y="3406775"/>
                  <a:pt x="2223681" y="3406775"/>
                </a:cubicBezTo>
                <a:cubicBezTo>
                  <a:pt x="1837079" y="2980928"/>
                  <a:pt x="1324239" y="2681258"/>
                  <a:pt x="740392" y="2562967"/>
                </a:cubicBezTo>
                <a:cubicBezTo>
                  <a:pt x="416908" y="2491993"/>
                  <a:pt x="148654" y="2255411"/>
                  <a:pt x="46086" y="1939969"/>
                </a:cubicBezTo>
                <a:cubicBezTo>
                  <a:pt x="-56482" y="1624527"/>
                  <a:pt x="14527" y="1277541"/>
                  <a:pt x="235442" y="1033073"/>
                </a:cubicBezTo>
                <a:cubicBezTo>
                  <a:pt x="456358" y="788605"/>
                  <a:pt x="535256" y="441619"/>
                  <a:pt x="424798" y="126177"/>
                </a:cubicBezTo>
                <a:cubicBezTo>
                  <a:pt x="416908" y="78861"/>
                  <a:pt x="393239" y="39430"/>
                  <a:pt x="377459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E686FA-8940-A88B-138F-B4BB47A6D0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1921786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7EFE5F9-8B04-8D8D-09D3-53C33529D293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901950 w 2901950"/>
              <a:gd name="connsiteY7" fmla="*/ 356482 h 1638300"/>
              <a:gd name="connsiteX8" fmla="*/ 2467413 w 2901950"/>
              <a:gd name="connsiteY8" fmla="*/ 656079 h 1638300"/>
              <a:gd name="connsiteX9" fmla="*/ 2463635 w 2901950"/>
              <a:gd name="connsiteY9" fmla="*/ 663663 h 1638300"/>
              <a:gd name="connsiteX10" fmla="*/ 2350277 w 2901950"/>
              <a:gd name="connsiteY10" fmla="*/ 982222 h 1638300"/>
              <a:gd name="connsiteX11" fmla="*/ 2350277 w 2901950"/>
              <a:gd name="connsiteY11" fmla="*/ 1312157 h 1638300"/>
              <a:gd name="connsiteX12" fmla="*/ 2350277 w 2901950"/>
              <a:gd name="connsiteY12" fmla="*/ 1315949 h 1638300"/>
              <a:gd name="connsiteX13" fmla="*/ 2320049 w 2901950"/>
              <a:gd name="connsiteY13" fmla="*/ 1331119 h 1638300"/>
              <a:gd name="connsiteX14" fmla="*/ 2029098 w 2901950"/>
              <a:gd name="connsiteY14" fmla="*/ 1501775 h 1638300"/>
              <a:gd name="connsiteX15" fmla="*/ 1915741 w 2901950"/>
              <a:gd name="connsiteY15" fmla="*/ 1615546 h 1638300"/>
              <a:gd name="connsiteX16" fmla="*/ 1904405 w 2901950"/>
              <a:gd name="connsiteY16" fmla="*/ 1638300 h 1638300"/>
              <a:gd name="connsiteX17" fmla="*/ 1741926 w 2901950"/>
              <a:gd name="connsiteY17" fmla="*/ 1638300 h 1638300"/>
              <a:gd name="connsiteX18" fmla="*/ 1160024 w 2901950"/>
              <a:gd name="connsiteY18" fmla="*/ 1638300 h 1638300"/>
              <a:gd name="connsiteX19" fmla="*/ 581902 w 2901950"/>
              <a:gd name="connsiteY19" fmla="*/ 1638300 h 1638300"/>
              <a:gd name="connsiteX20" fmla="*/ 0 w 2901950"/>
              <a:gd name="connsiteY20" fmla="*/ 1638300 h 1638300"/>
              <a:gd name="connsiteX21" fmla="*/ 0 w 2901950"/>
              <a:gd name="connsiteY21" fmla="*/ 1312157 h 1638300"/>
              <a:gd name="connsiteX22" fmla="*/ 0 w 2901950"/>
              <a:gd name="connsiteY22" fmla="*/ 982222 h 1638300"/>
              <a:gd name="connsiteX23" fmla="*/ 0 w 2901950"/>
              <a:gd name="connsiteY23" fmla="*/ 656079 h 1638300"/>
              <a:gd name="connsiteX24" fmla="*/ 0 w 2901950"/>
              <a:gd name="connsiteY24" fmla="*/ 326143 h 1638300"/>
              <a:gd name="connsiteX25" fmla="*/ 0 w 2901950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901950" y="326143"/>
                  <a:pt x="2901950" y="326143"/>
                  <a:pt x="2901950" y="356482"/>
                </a:cubicBezTo>
                <a:cubicBezTo>
                  <a:pt x="2720578" y="386821"/>
                  <a:pt x="2561878" y="496799"/>
                  <a:pt x="2467413" y="656079"/>
                </a:cubicBezTo>
                <a:cubicBezTo>
                  <a:pt x="2467413" y="659871"/>
                  <a:pt x="2463635" y="659871"/>
                  <a:pt x="2463635" y="663663"/>
                </a:cubicBezTo>
                <a:cubicBezTo>
                  <a:pt x="2406956" y="762265"/>
                  <a:pt x="2365392" y="872243"/>
                  <a:pt x="2350277" y="982222"/>
                </a:cubicBezTo>
                <a:cubicBezTo>
                  <a:pt x="2331384" y="1092200"/>
                  <a:pt x="2331384" y="1202179"/>
                  <a:pt x="2350277" y="1312157"/>
                </a:cubicBezTo>
                <a:cubicBezTo>
                  <a:pt x="2350277" y="1312157"/>
                  <a:pt x="2350277" y="1312157"/>
                  <a:pt x="2350277" y="1315949"/>
                </a:cubicBezTo>
                <a:cubicBezTo>
                  <a:pt x="2350277" y="1315949"/>
                  <a:pt x="2350277" y="1315949"/>
                  <a:pt x="2320049" y="1331119"/>
                </a:cubicBezTo>
                <a:cubicBezTo>
                  <a:pt x="2320049" y="1331119"/>
                  <a:pt x="2320049" y="1331119"/>
                  <a:pt x="2029098" y="1501775"/>
                </a:cubicBezTo>
                <a:cubicBezTo>
                  <a:pt x="1983755" y="1528322"/>
                  <a:pt x="1942191" y="1566245"/>
                  <a:pt x="1915741" y="1615546"/>
                </a:cubicBezTo>
                <a:cubicBezTo>
                  <a:pt x="1911962" y="1623131"/>
                  <a:pt x="1908183" y="1630715"/>
                  <a:pt x="1904405" y="1638300"/>
                </a:cubicBezTo>
                <a:cubicBezTo>
                  <a:pt x="1904405" y="1638300"/>
                  <a:pt x="1904405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4" name="Picture 3" descr="A blue and pink circle with black background&#10;&#10;Description automatically generated">
            <a:extLst>
              <a:ext uri="{FF2B5EF4-FFF2-40B4-BE49-F238E27FC236}">
                <a16:creationId xmlns:a16="http://schemas.microsoft.com/office/drawing/2014/main" id="{31098AA9-5538-23A3-F13F-E112450ED1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4001" y="0"/>
            <a:ext cx="431799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612151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background with a yellow circle&#10;&#10;Description automatically generated">
            <a:extLst>
              <a:ext uri="{FF2B5EF4-FFF2-40B4-BE49-F238E27FC236}">
                <a16:creationId xmlns:a16="http://schemas.microsoft.com/office/drawing/2014/main" id="{EC7C65FC-796A-79CD-E261-AD0240900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3901" y="0"/>
            <a:ext cx="25780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6262086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84E532BC-FF12-A43F-E81B-E040BE32F4D2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-2" y="0"/>
            <a:ext cx="11255605" cy="6858000"/>
          </a:xfrm>
          <a:custGeom>
            <a:avLst/>
            <a:gdLst>
              <a:gd name="connsiteX0" fmla="*/ 0 w 2678113"/>
              <a:gd name="connsiteY0" fmla="*/ 0 h 1638300"/>
              <a:gd name="connsiteX1" fmla="*/ 581706 w 2678113"/>
              <a:gd name="connsiteY1" fmla="*/ 0 h 1638300"/>
              <a:gd name="connsiteX2" fmla="*/ 1159634 w 2678113"/>
              <a:gd name="connsiteY2" fmla="*/ 0 h 1638300"/>
              <a:gd name="connsiteX3" fmla="*/ 1741340 w 2678113"/>
              <a:gd name="connsiteY3" fmla="*/ 0 h 1638300"/>
              <a:gd name="connsiteX4" fmla="*/ 2319269 w 2678113"/>
              <a:gd name="connsiteY4" fmla="*/ 0 h 1638300"/>
              <a:gd name="connsiteX5" fmla="*/ 2357042 w 2678113"/>
              <a:gd name="connsiteY5" fmla="*/ 0 h 1638300"/>
              <a:gd name="connsiteX6" fmla="*/ 2319269 w 2678113"/>
              <a:gd name="connsiteY6" fmla="*/ 140317 h 1638300"/>
              <a:gd name="connsiteX7" fmla="*/ 2357042 w 2678113"/>
              <a:gd name="connsiteY7" fmla="*/ 280635 h 1638300"/>
              <a:gd name="connsiteX8" fmla="*/ 2387260 w 2678113"/>
              <a:gd name="connsiteY8" fmla="*/ 326143 h 1638300"/>
              <a:gd name="connsiteX9" fmla="*/ 2576126 w 2678113"/>
              <a:gd name="connsiteY9" fmla="*/ 656079 h 1638300"/>
              <a:gd name="connsiteX10" fmla="*/ 2678113 w 2678113"/>
              <a:gd name="connsiteY10" fmla="*/ 834320 h 1638300"/>
              <a:gd name="connsiteX11" fmla="*/ 2459029 w 2678113"/>
              <a:gd name="connsiteY11" fmla="*/ 860866 h 1638300"/>
              <a:gd name="connsiteX12" fmla="*/ 2349487 w 2678113"/>
              <a:gd name="connsiteY12" fmla="*/ 982222 h 1638300"/>
              <a:gd name="connsiteX13" fmla="*/ 2323046 w 2678113"/>
              <a:gd name="connsiteY13" fmla="*/ 1099785 h 1638300"/>
              <a:gd name="connsiteX14" fmla="*/ 2349487 w 2678113"/>
              <a:gd name="connsiteY14" fmla="*/ 1312157 h 1638300"/>
              <a:gd name="connsiteX15" fmla="*/ 2519466 w 2678113"/>
              <a:gd name="connsiteY15" fmla="*/ 1638300 h 1638300"/>
              <a:gd name="connsiteX16" fmla="*/ 2319269 w 2678113"/>
              <a:gd name="connsiteY16" fmla="*/ 1638300 h 1638300"/>
              <a:gd name="connsiteX17" fmla="*/ 1741340 w 2678113"/>
              <a:gd name="connsiteY17" fmla="*/ 1638300 h 1638300"/>
              <a:gd name="connsiteX18" fmla="*/ 1159634 w 2678113"/>
              <a:gd name="connsiteY18" fmla="*/ 1638300 h 1638300"/>
              <a:gd name="connsiteX19" fmla="*/ 581706 w 2678113"/>
              <a:gd name="connsiteY19" fmla="*/ 1638300 h 1638300"/>
              <a:gd name="connsiteX20" fmla="*/ 0 w 2678113"/>
              <a:gd name="connsiteY20" fmla="*/ 1638300 h 1638300"/>
              <a:gd name="connsiteX21" fmla="*/ 0 w 2678113"/>
              <a:gd name="connsiteY21" fmla="*/ 1312157 h 1638300"/>
              <a:gd name="connsiteX22" fmla="*/ 0 w 2678113"/>
              <a:gd name="connsiteY22" fmla="*/ 982222 h 1638300"/>
              <a:gd name="connsiteX23" fmla="*/ 0 w 2678113"/>
              <a:gd name="connsiteY23" fmla="*/ 656079 h 1638300"/>
              <a:gd name="connsiteX24" fmla="*/ 0 w 2678113"/>
              <a:gd name="connsiteY24" fmla="*/ 326143 h 1638300"/>
              <a:gd name="connsiteX25" fmla="*/ 0 w 2678113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678113" h="1638300">
                <a:moveTo>
                  <a:pt x="0" y="0"/>
                </a:moveTo>
                <a:cubicBezTo>
                  <a:pt x="0" y="0"/>
                  <a:pt x="0" y="0"/>
                  <a:pt x="581706" y="0"/>
                </a:cubicBezTo>
                <a:cubicBezTo>
                  <a:pt x="581706" y="0"/>
                  <a:pt x="581706" y="0"/>
                  <a:pt x="1159634" y="0"/>
                </a:cubicBezTo>
                <a:cubicBezTo>
                  <a:pt x="1159634" y="0"/>
                  <a:pt x="1159634" y="0"/>
                  <a:pt x="1741340" y="0"/>
                </a:cubicBezTo>
                <a:cubicBezTo>
                  <a:pt x="1741340" y="0"/>
                  <a:pt x="1741340" y="0"/>
                  <a:pt x="2319269" y="0"/>
                </a:cubicBezTo>
                <a:cubicBezTo>
                  <a:pt x="2319269" y="0"/>
                  <a:pt x="2319269" y="0"/>
                  <a:pt x="2357042" y="0"/>
                </a:cubicBezTo>
                <a:cubicBezTo>
                  <a:pt x="2334378" y="41716"/>
                  <a:pt x="2319269" y="91017"/>
                  <a:pt x="2319269" y="140317"/>
                </a:cubicBezTo>
                <a:cubicBezTo>
                  <a:pt x="2319269" y="189618"/>
                  <a:pt x="2334378" y="238919"/>
                  <a:pt x="2357042" y="280635"/>
                </a:cubicBezTo>
                <a:cubicBezTo>
                  <a:pt x="2357042" y="280635"/>
                  <a:pt x="2357042" y="280635"/>
                  <a:pt x="2387260" y="326143"/>
                </a:cubicBezTo>
                <a:cubicBezTo>
                  <a:pt x="2387260" y="326143"/>
                  <a:pt x="2387260" y="326143"/>
                  <a:pt x="2576126" y="656079"/>
                </a:cubicBezTo>
                <a:cubicBezTo>
                  <a:pt x="2576126" y="656079"/>
                  <a:pt x="2576126" y="656079"/>
                  <a:pt x="2678113" y="834320"/>
                </a:cubicBezTo>
                <a:cubicBezTo>
                  <a:pt x="2606344" y="811565"/>
                  <a:pt x="2527021" y="822943"/>
                  <a:pt x="2459029" y="860866"/>
                </a:cubicBezTo>
                <a:cubicBezTo>
                  <a:pt x="2409924" y="887413"/>
                  <a:pt x="2372151" y="932921"/>
                  <a:pt x="2349487" y="982222"/>
                </a:cubicBezTo>
                <a:cubicBezTo>
                  <a:pt x="2330601" y="1020145"/>
                  <a:pt x="2323046" y="1058069"/>
                  <a:pt x="2323046" y="1099785"/>
                </a:cubicBezTo>
                <a:cubicBezTo>
                  <a:pt x="2323046" y="1171840"/>
                  <a:pt x="2334378" y="1243895"/>
                  <a:pt x="2349487" y="1312157"/>
                </a:cubicBezTo>
                <a:cubicBezTo>
                  <a:pt x="2383483" y="1429720"/>
                  <a:pt x="2440143" y="1543491"/>
                  <a:pt x="2519466" y="1638300"/>
                </a:cubicBezTo>
                <a:cubicBezTo>
                  <a:pt x="2519466" y="1638300"/>
                  <a:pt x="2519466" y="1638300"/>
                  <a:pt x="2319269" y="1638300"/>
                </a:cubicBezTo>
                <a:cubicBezTo>
                  <a:pt x="2319269" y="1638300"/>
                  <a:pt x="2319269" y="1638300"/>
                  <a:pt x="1741340" y="1638300"/>
                </a:cubicBezTo>
                <a:cubicBezTo>
                  <a:pt x="1741340" y="1638300"/>
                  <a:pt x="1741340" y="1638300"/>
                  <a:pt x="1159634" y="1638300"/>
                </a:cubicBezTo>
                <a:cubicBezTo>
                  <a:pt x="1159634" y="1638300"/>
                  <a:pt x="1159634" y="1638300"/>
                  <a:pt x="581706" y="1638300"/>
                </a:cubicBezTo>
                <a:cubicBezTo>
                  <a:pt x="581706" y="1638300"/>
                  <a:pt x="581706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7" name="Picture 6" descr="A colorful background with a yellow circle&#10;&#10;Description automatically generated">
            <a:extLst>
              <a:ext uri="{FF2B5EF4-FFF2-40B4-BE49-F238E27FC236}">
                <a16:creationId xmlns:a16="http://schemas.microsoft.com/office/drawing/2014/main" id="{1B1FA352-8795-6DB4-2152-036324FBA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3901" y="0"/>
            <a:ext cx="25780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0786412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1C7857F-F7F1-5051-2D7C-555A2F260E0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-2" y="0"/>
            <a:ext cx="11255605" cy="6858000"/>
          </a:xfrm>
          <a:custGeom>
            <a:avLst/>
            <a:gdLst>
              <a:gd name="connsiteX0" fmla="*/ 0 w 2678113"/>
              <a:gd name="connsiteY0" fmla="*/ 0 h 1638300"/>
              <a:gd name="connsiteX1" fmla="*/ 581706 w 2678113"/>
              <a:gd name="connsiteY1" fmla="*/ 0 h 1638300"/>
              <a:gd name="connsiteX2" fmla="*/ 1159634 w 2678113"/>
              <a:gd name="connsiteY2" fmla="*/ 0 h 1638300"/>
              <a:gd name="connsiteX3" fmla="*/ 1741340 w 2678113"/>
              <a:gd name="connsiteY3" fmla="*/ 0 h 1638300"/>
              <a:gd name="connsiteX4" fmla="*/ 2319269 w 2678113"/>
              <a:gd name="connsiteY4" fmla="*/ 0 h 1638300"/>
              <a:gd name="connsiteX5" fmla="*/ 2357042 w 2678113"/>
              <a:gd name="connsiteY5" fmla="*/ 0 h 1638300"/>
              <a:gd name="connsiteX6" fmla="*/ 2319269 w 2678113"/>
              <a:gd name="connsiteY6" fmla="*/ 140317 h 1638300"/>
              <a:gd name="connsiteX7" fmla="*/ 2357042 w 2678113"/>
              <a:gd name="connsiteY7" fmla="*/ 280635 h 1638300"/>
              <a:gd name="connsiteX8" fmla="*/ 2387260 w 2678113"/>
              <a:gd name="connsiteY8" fmla="*/ 326143 h 1638300"/>
              <a:gd name="connsiteX9" fmla="*/ 2576126 w 2678113"/>
              <a:gd name="connsiteY9" fmla="*/ 656079 h 1638300"/>
              <a:gd name="connsiteX10" fmla="*/ 2678113 w 2678113"/>
              <a:gd name="connsiteY10" fmla="*/ 834320 h 1638300"/>
              <a:gd name="connsiteX11" fmla="*/ 2459029 w 2678113"/>
              <a:gd name="connsiteY11" fmla="*/ 860866 h 1638300"/>
              <a:gd name="connsiteX12" fmla="*/ 2349487 w 2678113"/>
              <a:gd name="connsiteY12" fmla="*/ 982222 h 1638300"/>
              <a:gd name="connsiteX13" fmla="*/ 2323046 w 2678113"/>
              <a:gd name="connsiteY13" fmla="*/ 1099785 h 1638300"/>
              <a:gd name="connsiteX14" fmla="*/ 2349487 w 2678113"/>
              <a:gd name="connsiteY14" fmla="*/ 1312157 h 1638300"/>
              <a:gd name="connsiteX15" fmla="*/ 2519466 w 2678113"/>
              <a:gd name="connsiteY15" fmla="*/ 1638300 h 1638300"/>
              <a:gd name="connsiteX16" fmla="*/ 2319269 w 2678113"/>
              <a:gd name="connsiteY16" fmla="*/ 1638300 h 1638300"/>
              <a:gd name="connsiteX17" fmla="*/ 1741340 w 2678113"/>
              <a:gd name="connsiteY17" fmla="*/ 1638300 h 1638300"/>
              <a:gd name="connsiteX18" fmla="*/ 1159634 w 2678113"/>
              <a:gd name="connsiteY18" fmla="*/ 1638300 h 1638300"/>
              <a:gd name="connsiteX19" fmla="*/ 581706 w 2678113"/>
              <a:gd name="connsiteY19" fmla="*/ 1638300 h 1638300"/>
              <a:gd name="connsiteX20" fmla="*/ 0 w 2678113"/>
              <a:gd name="connsiteY20" fmla="*/ 1638300 h 1638300"/>
              <a:gd name="connsiteX21" fmla="*/ 0 w 2678113"/>
              <a:gd name="connsiteY21" fmla="*/ 1312157 h 1638300"/>
              <a:gd name="connsiteX22" fmla="*/ 0 w 2678113"/>
              <a:gd name="connsiteY22" fmla="*/ 982222 h 1638300"/>
              <a:gd name="connsiteX23" fmla="*/ 0 w 2678113"/>
              <a:gd name="connsiteY23" fmla="*/ 656079 h 1638300"/>
              <a:gd name="connsiteX24" fmla="*/ 0 w 2678113"/>
              <a:gd name="connsiteY24" fmla="*/ 326143 h 1638300"/>
              <a:gd name="connsiteX25" fmla="*/ 0 w 2678113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678113" h="1638300">
                <a:moveTo>
                  <a:pt x="0" y="0"/>
                </a:moveTo>
                <a:cubicBezTo>
                  <a:pt x="0" y="0"/>
                  <a:pt x="0" y="0"/>
                  <a:pt x="581706" y="0"/>
                </a:cubicBezTo>
                <a:cubicBezTo>
                  <a:pt x="581706" y="0"/>
                  <a:pt x="581706" y="0"/>
                  <a:pt x="1159634" y="0"/>
                </a:cubicBezTo>
                <a:cubicBezTo>
                  <a:pt x="1159634" y="0"/>
                  <a:pt x="1159634" y="0"/>
                  <a:pt x="1741340" y="0"/>
                </a:cubicBezTo>
                <a:cubicBezTo>
                  <a:pt x="1741340" y="0"/>
                  <a:pt x="1741340" y="0"/>
                  <a:pt x="2319269" y="0"/>
                </a:cubicBezTo>
                <a:cubicBezTo>
                  <a:pt x="2319269" y="0"/>
                  <a:pt x="2319269" y="0"/>
                  <a:pt x="2357042" y="0"/>
                </a:cubicBezTo>
                <a:cubicBezTo>
                  <a:pt x="2334378" y="41716"/>
                  <a:pt x="2319269" y="91017"/>
                  <a:pt x="2319269" y="140317"/>
                </a:cubicBezTo>
                <a:cubicBezTo>
                  <a:pt x="2319269" y="189618"/>
                  <a:pt x="2334378" y="238919"/>
                  <a:pt x="2357042" y="280635"/>
                </a:cubicBezTo>
                <a:cubicBezTo>
                  <a:pt x="2357042" y="280635"/>
                  <a:pt x="2357042" y="280635"/>
                  <a:pt x="2387260" y="326143"/>
                </a:cubicBezTo>
                <a:cubicBezTo>
                  <a:pt x="2387260" y="326143"/>
                  <a:pt x="2387260" y="326143"/>
                  <a:pt x="2576126" y="656079"/>
                </a:cubicBezTo>
                <a:cubicBezTo>
                  <a:pt x="2576126" y="656079"/>
                  <a:pt x="2576126" y="656079"/>
                  <a:pt x="2678113" y="834320"/>
                </a:cubicBezTo>
                <a:cubicBezTo>
                  <a:pt x="2606344" y="811565"/>
                  <a:pt x="2527021" y="822943"/>
                  <a:pt x="2459029" y="860866"/>
                </a:cubicBezTo>
                <a:cubicBezTo>
                  <a:pt x="2409924" y="887413"/>
                  <a:pt x="2372151" y="932921"/>
                  <a:pt x="2349487" y="982222"/>
                </a:cubicBezTo>
                <a:cubicBezTo>
                  <a:pt x="2330601" y="1020145"/>
                  <a:pt x="2323046" y="1058069"/>
                  <a:pt x="2323046" y="1099785"/>
                </a:cubicBezTo>
                <a:cubicBezTo>
                  <a:pt x="2323046" y="1171840"/>
                  <a:pt x="2334378" y="1243895"/>
                  <a:pt x="2349487" y="1312157"/>
                </a:cubicBezTo>
                <a:cubicBezTo>
                  <a:pt x="2383483" y="1429720"/>
                  <a:pt x="2440143" y="1543491"/>
                  <a:pt x="2519466" y="1638300"/>
                </a:cubicBezTo>
                <a:cubicBezTo>
                  <a:pt x="2519466" y="1638300"/>
                  <a:pt x="2519466" y="1638300"/>
                  <a:pt x="2319269" y="1638300"/>
                </a:cubicBezTo>
                <a:cubicBezTo>
                  <a:pt x="2319269" y="1638300"/>
                  <a:pt x="2319269" y="1638300"/>
                  <a:pt x="1741340" y="1638300"/>
                </a:cubicBezTo>
                <a:cubicBezTo>
                  <a:pt x="1741340" y="1638300"/>
                  <a:pt x="1741340" y="1638300"/>
                  <a:pt x="1159634" y="1638300"/>
                </a:cubicBezTo>
                <a:cubicBezTo>
                  <a:pt x="1159634" y="1638300"/>
                  <a:pt x="1159634" y="1638300"/>
                  <a:pt x="581706" y="1638300"/>
                </a:cubicBezTo>
                <a:cubicBezTo>
                  <a:pt x="581706" y="1638300"/>
                  <a:pt x="581706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4" name="Picture 3" descr="A colorful background with a yellow circle&#10;&#10;Description automatically generated">
            <a:extLst>
              <a:ext uri="{FF2B5EF4-FFF2-40B4-BE49-F238E27FC236}">
                <a16:creationId xmlns:a16="http://schemas.microsoft.com/office/drawing/2014/main" id="{732627F9-F370-0591-C057-AF446D065C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3901" y="0"/>
            <a:ext cx="257809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95180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AE5AA11-CA82-C177-1E94-A5DD8219C3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1715734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426" imgH="428" progId="TCLayout.ActiveDocument.1">
                  <p:embed/>
                </p:oleObj>
              </mc:Choice>
              <mc:Fallback>
                <p:oleObj name="think-cell Slide" r:id="rId55" imgW="426" imgH="42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E5AA11-CA82-C177-1E94-A5DD8219C3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A96AB-8025-800A-2C24-7E888FEFF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1168062" cy="1065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4E3102-B1BD-6F42-D23F-9839C4945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4838" y="1573619"/>
            <a:ext cx="11168062" cy="4477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0478D-6D5E-92AA-A8E5-4B2E1DDB45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61785-315A-7A76-7C7E-594293B97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6477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12" r:id="rId2"/>
    <p:sldLayoutId id="2147483739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650" r:id="rId16"/>
    <p:sldLayoutId id="2147483659" r:id="rId17"/>
    <p:sldLayoutId id="2147483660" r:id="rId18"/>
    <p:sldLayoutId id="2147483656" r:id="rId19"/>
    <p:sldLayoutId id="2147483687" r:id="rId20"/>
    <p:sldLayoutId id="2147483755" r:id="rId21"/>
    <p:sldLayoutId id="2147483756" r:id="rId22"/>
    <p:sldLayoutId id="2147483757" r:id="rId23"/>
    <p:sldLayoutId id="2147483758" r:id="rId24"/>
    <p:sldLayoutId id="2147483759" r:id="rId25"/>
    <p:sldLayoutId id="2147483760" r:id="rId26"/>
    <p:sldLayoutId id="2147483761" r:id="rId27"/>
    <p:sldLayoutId id="2147483762" r:id="rId28"/>
    <p:sldLayoutId id="2147483681" r:id="rId29"/>
    <p:sldLayoutId id="2147483668" r:id="rId30"/>
    <p:sldLayoutId id="2147483667" r:id="rId31"/>
    <p:sldLayoutId id="2147483669" r:id="rId32"/>
    <p:sldLayoutId id="2147483683" r:id="rId33"/>
    <p:sldLayoutId id="2147483684" r:id="rId34"/>
    <p:sldLayoutId id="2147483672" r:id="rId35"/>
    <p:sldLayoutId id="2147483695" r:id="rId36"/>
    <p:sldLayoutId id="2147483673" r:id="rId37"/>
    <p:sldLayoutId id="2147483753" r:id="rId38"/>
    <p:sldLayoutId id="2147483754" r:id="rId39"/>
    <p:sldLayoutId id="2147483690" r:id="rId40"/>
    <p:sldLayoutId id="2147483688" r:id="rId41"/>
    <p:sldLayoutId id="2147483738" r:id="rId42"/>
    <p:sldLayoutId id="2147483670" r:id="rId43"/>
    <p:sldLayoutId id="2147483671" r:id="rId44"/>
    <p:sldLayoutId id="2147483692" r:id="rId45"/>
    <p:sldLayoutId id="2147483693" r:id="rId46"/>
    <p:sldLayoutId id="2147483694" r:id="rId47"/>
    <p:sldLayoutId id="2147483654" r:id="rId48"/>
    <p:sldLayoutId id="2147483655" r:id="rId49"/>
    <p:sldLayoutId id="2147483736" r:id="rId50"/>
    <p:sldLayoutId id="2147483763" r:id="rId51"/>
    <p:sldLayoutId id="2147483764" r:id="rId52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000" b="1" kern="1200">
          <a:solidFill>
            <a:srgbClr val="002068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000"/>
        </a:spcBef>
        <a:buFontTx/>
        <a:buNone/>
        <a:defRPr sz="2000" b="1" kern="1200">
          <a:solidFill>
            <a:srgbClr val="0460A9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7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Ping LCG Medium" pitchFamily="50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90538" indent="-268288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73113" indent="-277813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2" userDrawn="1">
          <p15:clr>
            <a:srgbClr val="F26B43"/>
          </p15:clr>
        </p15:guide>
        <p15:guide id="2" pos="3975" userDrawn="1">
          <p15:clr>
            <a:srgbClr val="F26B43"/>
          </p15:clr>
        </p15:guide>
        <p15:guide id="3" orient="horz" pos="243" userDrawn="1">
          <p15:clr>
            <a:srgbClr val="F26B43"/>
          </p15:clr>
        </p15:guide>
        <p15:guide id="4" orient="horz" pos="3812" userDrawn="1">
          <p15:clr>
            <a:srgbClr val="F26B43"/>
          </p15:clr>
        </p15:guide>
        <p15:guide id="5" orient="horz" pos="867" userDrawn="1">
          <p15:clr>
            <a:srgbClr val="F26B43"/>
          </p15:clr>
        </p15:guide>
        <p15:guide id="6" orient="horz" pos="1015" userDrawn="1">
          <p15:clr>
            <a:srgbClr val="F26B43"/>
          </p15:clr>
        </p15:guide>
        <p15:guide id="7" orient="horz" pos="1639" userDrawn="1">
          <p15:clr>
            <a:srgbClr val="F26B43"/>
          </p15:clr>
        </p15:guide>
        <p15:guide id="8" orient="horz" pos="1781" userDrawn="1">
          <p15:clr>
            <a:srgbClr val="F26B43"/>
          </p15:clr>
        </p15:guide>
        <p15:guide id="9" orient="horz" pos="2544" userDrawn="1">
          <p15:clr>
            <a:srgbClr val="F26B43"/>
          </p15:clr>
        </p15:guide>
        <p15:guide id="10" orient="horz" pos="3174" userDrawn="1">
          <p15:clr>
            <a:srgbClr val="F26B43"/>
          </p15:clr>
        </p15:guide>
        <p15:guide id="11" orient="horz" pos="3316" userDrawn="1">
          <p15:clr>
            <a:srgbClr val="F26B43"/>
          </p15:clr>
        </p15:guide>
        <p15:guide id="12" pos="7416" userDrawn="1">
          <p15:clr>
            <a:srgbClr val="F26B43"/>
          </p15:clr>
        </p15:guide>
        <p15:guide id="13" pos="381" userDrawn="1">
          <p15:clr>
            <a:srgbClr val="F26B43"/>
          </p15:clr>
        </p15:guide>
        <p15:guide id="14" pos="1434" userDrawn="1">
          <p15:clr>
            <a:srgbClr val="F26B43"/>
          </p15:clr>
        </p15:guide>
        <p15:guide id="15" pos="1581" userDrawn="1">
          <p15:clr>
            <a:srgbClr val="F26B43"/>
          </p15:clr>
        </p15:guide>
        <p15:guide id="16" pos="2625" userDrawn="1">
          <p15:clr>
            <a:srgbClr val="F26B43"/>
          </p15:clr>
        </p15:guide>
        <p15:guide id="17" pos="2776" userDrawn="1">
          <p15:clr>
            <a:srgbClr val="F26B43"/>
          </p15:clr>
        </p15:guide>
        <p15:guide id="18" pos="3824" userDrawn="1">
          <p15:clr>
            <a:srgbClr val="F26B43"/>
          </p15:clr>
        </p15:guide>
        <p15:guide id="19" pos="5020" userDrawn="1">
          <p15:clr>
            <a:srgbClr val="F26B43"/>
          </p15:clr>
        </p15:guide>
        <p15:guide id="20" pos="5166" userDrawn="1">
          <p15:clr>
            <a:srgbClr val="F26B43"/>
          </p15:clr>
        </p15:guide>
        <p15:guide id="21" pos="6219" userDrawn="1">
          <p15:clr>
            <a:srgbClr val="F26B43"/>
          </p15:clr>
        </p15:guide>
        <p15:guide id="22" pos="63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25.jp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.xml"/><Relationship Id="rId5" Type="http://schemas.openxmlformats.org/officeDocument/2006/relationships/image" Target="../media/image26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.xml"/><Relationship Id="rId5" Type="http://schemas.openxmlformats.org/officeDocument/2006/relationships/image" Target="../media/image27.jpe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FBA5BB4-BAC9-7FFD-2A0A-0CC041D39C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1511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BA5BB4-BAC9-7FFD-2A0A-0CC041D39C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A person on a skateboard&#10;&#10;Description automatically generated">
            <a:extLst>
              <a:ext uri="{FF2B5EF4-FFF2-40B4-BE49-F238E27FC236}">
                <a16:creationId xmlns:a16="http://schemas.microsoft.com/office/drawing/2014/main" id="{E37DA9F0-EA58-FC47-DB10-E6270A4CD62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2">
            <a:extLst>
              <a:ext uri="{FF2B5EF4-FFF2-40B4-BE49-F238E27FC236}">
                <a16:creationId xmlns:a16="http://schemas.microsoft.com/office/drawing/2014/main" id="{C8F99638-AFFD-EB36-5413-61FC82DD40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3952" y="1055915"/>
            <a:ext cx="5465762" cy="4463142"/>
          </a:xfrm>
        </p:spPr>
        <p:txBody>
          <a:bodyPr vert="horz" anchor="ctr"/>
          <a:lstStyle/>
          <a:p>
            <a:r>
              <a:rPr lang="en-GB" sz="4800" spc="0" dirty="0">
                <a:latin typeface="Arial Black" panose="020B0604020202020204" pitchFamily="34" charset="0"/>
                <a:cs typeface="Arial Black" panose="020B0604020202020204" pitchFamily="34" charset="0"/>
              </a:rPr>
              <a:t>NEST</a:t>
            </a:r>
            <a:br>
              <a:rPr lang="en-GB" sz="2000" spc="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1600" spc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000" spc="0" dirty="0">
                <a:latin typeface="Arial" panose="020B0604020202020204" pitchFamily="34" charset="0"/>
                <a:cs typeface="Arial" panose="020B0604020202020204" pitchFamily="34" charset="0"/>
              </a:rPr>
              <a:t>Nurturing </a:t>
            </a:r>
            <a:r>
              <a:rPr lang="en-GB" sz="2000" b="0" spc="0" dirty="0">
                <a:latin typeface="Arial" panose="020B0604020202020204" pitchFamily="34" charset="0"/>
                <a:cs typeface="Arial" panose="020B0604020202020204" pitchFamily="34" charset="0"/>
              </a:rPr>
              <a:t>Excellence,</a:t>
            </a:r>
            <a:br>
              <a:rPr lang="en-GB" sz="2000" b="0" spc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000" b="0" spc="0" dirty="0">
                <a:latin typeface="Arial" panose="020B0604020202020204" pitchFamily="34" charset="0"/>
                <a:cs typeface="Arial" panose="020B0604020202020204" pitchFamily="34" charset="0"/>
              </a:rPr>
              <a:t>Strengthening</a:t>
            </a:r>
            <a:r>
              <a:rPr lang="en-GB" sz="2000" spc="0" dirty="0">
                <a:latin typeface="Arial" panose="020B0604020202020204" pitchFamily="34" charset="0"/>
                <a:cs typeface="Arial" panose="020B0604020202020204" pitchFamily="34" charset="0"/>
              </a:rPr>
              <a:t> Talent.</a:t>
            </a:r>
            <a:br>
              <a:rPr lang="en-GB" sz="2400" spc="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2400" spc="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2000" spc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000" spc="0" dirty="0">
                <a:latin typeface="Arial" panose="020B0604020202020204" pitchFamily="34" charset="0"/>
                <a:cs typeface="Arial" panose="020B0604020202020204" pitchFamily="34" charset="0"/>
              </a:rPr>
              <a:t>ABSTRACT SUBMISSION</a:t>
            </a:r>
            <a:br>
              <a:rPr lang="en-GB" sz="2000" spc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000" spc="0" dirty="0">
                <a:latin typeface="Arial" panose="020B0604020202020204" pitchFamily="34" charset="0"/>
                <a:cs typeface="Arial" panose="020B0604020202020204" pitchFamily="34" charset="0"/>
              </a:rPr>
              <a:t>GUIDELINES</a:t>
            </a:r>
          </a:p>
        </p:txBody>
      </p:sp>
    </p:spTree>
    <p:extLst>
      <p:ext uri="{BB962C8B-B14F-4D97-AF65-F5344CB8AC3E}">
        <p14:creationId xmlns:p14="http://schemas.microsoft.com/office/powerpoint/2010/main" val="20183996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4B4175-D6CC-60BE-ECED-A1E2FF4553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43302C1-80C6-8C5E-B8F4-88A7EB7760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3003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3302C1-80C6-8C5E-B8F4-88A7EB7760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123D8E-F7F2-2949-A60E-1BD78D2601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3849" y="962338"/>
            <a:ext cx="7832152" cy="697336"/>
          </a:xfrm>
        </p:spPr>
        <p:txBody>
          <a:bodyPr vert="horz"/>
          <a:lstStyle/>
          <a:p>
            <a:r>
              <a:rPr lang="en-US" sz="2800" dirty="0"/>
              <a:t>Problem Statement – #1</a:t>
            </a:r>
            <a:endParaRPr lang="en-GB" sz="2000" b="0" dirty="0">
              <a:solidFill>
                <a:srgbClr val="0460A9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68D0AEF-0F08-DAE3-8F42-EB1A7ECF52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1380539"/>
            <a:ext cx="9078177" cy="558271"/>
          </a:xfrm>
        </p:spPr>
        <p:txBody>
          <a:bodyPr/>
          <a:lstStyle/>
          <a:p>
            <a:r>
              <a:rPr lang="en-US" sz="2000" b="0" dirty="0"/>
              <a:t> Semantic Grouping of Clinical Trials for Retrieval and Insigh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A3C629E-AFAD-55D8-9F28-D04488A0A9A3}"/>
              </a:ext>
            </a:extLst>
          </p:cNvPr>
          <p:cNvSpPr txBox="1"/>
          <p:nvPr/>
        </p:nvSpPr>
        <p:spPr>
          <a:xfrm>
            <a:off x="604838" y="2148931"/>
            <a:ext cx="7901163" cy="15388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02060"/>
                </a:solidFill>
                <a:latin typeface="Arial(Heading)"/>
              </a:rPr>
              <a:t>Objective: </a:t>
            </a:r>
            <a:r>
              <a:rPr lang="en-US" sz="2000" dirty="0">
                <a:solidFill>
                  <a:schemeClr val="accent6"/>
                </a:solidFill>
              </a:rPr>
              <a:t>Improve the speed and efficiency of clinical trial design by retrieving semantically grouped clinical trials.</a:t>
            </a:r>
            <a:br>
              <a:rPr lang="en-US" sz="2000" dirty="0">
                <a:solidFill>
                  <a:schemeClr val="accent6"/>
                </a:solidFill>
              </a:rPr>
            </a:br>
            <a:br>
              <a:rPr lang="en-US" dirty="0"/>
            </a:br>
            <a:r>
              <a:rPr lang="en-US" sz="2800" b="1" dirty="0">
                <a:solidFill>
                  <a:srgbClr val="002068"/>
                </a:solidFill>
                <a:latin typeface="Arial(Heading)"/>
              </a:rPr>
              <a:t>Title: </a:t>
            </a:r>
            <a:r>
              <a:rPr lang="en-US" sz="2000" dirty="0">
                <a:solidFill>
                  <a:srgbClr val="0460A9"/>
                </a:solidFill>
              </a:rPr>
              <a:t>Leveraging AI for Clinical Trial Protocol Optimization</a:t>
            </a:r>
            <a:endParaRPr lang="en-IN" sz="2000" dirty="0">
              <a:solidFill>
                <a:srgbClr val="0460A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36643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490031-B3E3-6358-6540-F983BDCF2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490031-B3E3-6358-6540-F983BDCF2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6BC55D8-5564-B98F-28DD-2DC4FC83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7"/>
            <a:ext cx="8800419" cy="468560"/>
          </a:xfrm>
        </p:spPr>
        <p:txBody>
          <a:bodyPr vert="horz"/>
          <a:lstStyle/>
          <a:p>
            <a:r>
              <a:rPr lang="en-IN" dirty="0"/>
              <a:t>Approach &amp; methodology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F2065-909E-28E4-AC11-076FD4E07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3</a:t>
            </a:fld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BF64383-AE39-1B43-9006-E7F891B2B5AE}"/>
              </a:ext>
            </a:extLst>
          </p:cNvPr>
          <p:cNvSpPr/>
          <p:nvPr/>
        </p:nvSpPr>
        <p:spPr>
          <a:xfrm>
            <a:off x="789272" y="1039480"/>
            <a:ext cx="3445844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 dirty="0">
                <a:solidFill>
                  <a:schemeClr val="bg1"/>
                </a:solidFill>
                <a:effectLst/>
                <a:latin typeface="+mj-lt"/>
              </a:rPr>
              <a:t>Overview</a:t>
            </a:r>
            <a:endParaRPr lang="en-US" sz="1400" b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A220A54-6CA9-0E0B-DF1B-E0F3CCF2F6C8}"/>
              </a:ext>
            </a:extLst>
          </p:cNvPr>
          <p:cNvSpPr/>
          <p:nvPr/>
        </p:nvSpPr>
        <p:spPr>
          <a:xfrm>
            <a:off x="4441870" y="1039480"/>
            <a:ext cx="3445844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>
                <a:solidFill>
                  <a:schemeClr val="bg1"/>
                </a:solidFill>
                <a:effectLst/>
                <a:latin typeface="+mj-lt"/>
              </a:rPr>
              <a:t>Methodology</a:t>
            </a:r>
            <a:endParaRPr lang="en-US" sz="1400" b="1" i="0" dirty="0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7D7CD1E-CA56-3686-38C7-D754BE40282D}"/>
              </a:ext>
            </a:extLst>
          </p:cNvPr>
          <p:cNvSpPr/>
          <p:nvPr/>
        </p:nvSpPr>
        <p:spPr>
          <a:xfrm>
            <a:off x="8094469" y="1039480"/>
            <a:ext cx="3445844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>
                <a:solidFill>
                  <a:schemeClr val="bg1"/>
                </a:solidFill>
                <a:effectLst/>
                <a:latin typeface="+mj-lt"/>
              </a:rPr>
              <a:t>Framework / tools used</a:t>
            </a:r>
            <a:endParaRPr lang="en-US" sz="1400" b="1" i="0" dirty="0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B704CF7-7711-BDAA-0FCE-AB0C79FB5D68}"/>
              </a:ext>
            </a:extLst>
          </p:cNvPr>
          <p:cNvSpPr/>
          <p:nvPr/>
        </p:nvSpPr>
        <p:spPr>
          <a:xfrm>
            <a:off x="789272" y="1475495"/>
            <a:ext cx="3445844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Aim: </a:t>
            </a:r>
            <a:r>
              <a:rPr lang="en-US" sz="1600" b="1" dirty="0">
                <a:solidFill>
                  <a:schemeClr val="tx1"/>
                </a:solidFill>
              </a:rPr>
              <a:t>Enable semantic grouping of clinical trials to organize and categorize them based on underlying themes, facilitating efficient retrieval of actionable insights for decision-making and research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tx1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Challenges: </a:t>
            </a:r>
            <a:r>
              <a:rPr lang="en-US" sz="1600" b="1" dirty="0">
                <a:solidFill>
                  <a:schemeClr val="tx1"/>
                </a:solidFill>
              </a:rPr>
              <a:t>Delays in trial design arise from difficulties in recruiting participants and resolving protocol-related complexities, hindering timely data collection and subsequent analysis.</a:t>
            </a:r>
            <a:endParaRPr lang="en-US" sz="16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2CE8B7-1883-1BEF-8E14-E7383DEE4813}"/>
              </a:ext>
            </a:extLst>
          </p:cNvPr>
          <p:cNvSpPr/>
          <p:nvPr/>
        </p:nvSpPr>
        <p:spPr>
          <a:xfrm>
            <a:off x="4441870" y="1475495"/>
            <a:ext cx="3445844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Data Preprocessing: </a:t>
            </a:r>
            <a:r>
              <a:rPr lang="en-US" sz="1600" dirty="0"/>
              <a:t>The </a:t>
            </a:r>
            <a:r>
              <a:rPr lang="en-US" sz="1600" b="1" dirty="0">
                <a:solidFill>
                  <a:schemeClr val="tx1"/>
                </a:solidFill>
              </a:rPr>
              <a:t>process involves tokenization to break text into meaningful units, lemmatization to reduce words to their base forms, and encoding structured data into machine-readable formats to ensure compatibility with downstream model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tx1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Feature Engineering: </a:t>
            </a:r>
            <a:r>
              <a:rPr lang="en-US" sz="1600" b="1" dirty="0">
                <a:solidFill>
                  <a:schemeClr val="tx1"/>
                </a:solidFill>
              </a:rPr>
              <a:t>Features are extracted using </a:t>
            </a:r>
            <a:r>
              <a:rPr lang="en-US" sz="1600" b="1" dirty="0" err="1">
                <a:solidFill>
                  <a:schemeClr val="tx1"/>
                </a:solidFill>
              </a:rPr>
              <a:t>BioBERT</a:t>
            </a:r>
            <a:r>
              <a:rPr lang="en-US" sz="1600" b="1" dirty="0">
                <a:solidFill>
                  <a:schemeClr val="tx1"/>
                </a:solidFill>
              </a:rPr>
              <a:t> embeddings for capturing domain-specific semantic information and are combined with structured data features to create a comprehensive representation for the model.</a:t>
            </a:r>
            <a:endParaRPr lang="en-US" sz="1600" b="1" i="0" dirty="0"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F5E820E-C25A-11F9-9F4C-DFEC1E322ECB}"/>
              </a:ext>
            </a:extLst>
          </p:cNvPr>
          <p:cNvSpPr/>
          <p:nvPr/>
        </p:nvSpPr>
        <p:spPr>
          <a:xfrm>
            <a:off x="8092964" y="1484346"/>
            <a:ext cx="3445844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Llama LL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BioBERT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/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ClinicalBERT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Mod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TSNE/UM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Dock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Python Libraries: Scikit-learn,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PyTorch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, Pandas, NumPy, Matplotlib, and Seabo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Hugging Face Transform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FAISS (Facebook AI Similarity Searc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RAG (Retrieval-Augmented Gener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SHAP (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SHapley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Additive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exPlanations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944814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490031-B3E3-6358-6540-F983BDCF2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1719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490031-B3E3-6358-6540-F983BDCF2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6BC55D8-5564-B98F-28DD-2DC4FC83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6"/>
            <a:ext cx="8800419" cy="449310"/>
          </a:xfrm>
        </p:spPr>
        <p:txBody>
          <a:bodyPr vert="horz"/>
          <a:lstStyle/>
          <a:p>
            <a:r>
              <a:rPr lang="en-IN" dirty="0"/>
              <a:t>Model choice &amp; setup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F2065-909E-28E4-AC11-076FD4E07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4</a:t>
            </a:fld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BF64383-AE39-1B43-9006-E7F891B2B5AE}"/>
              </a:ext>
            </a:extLst>
          </p:cNvPr>
          <p:cNvSpPr/>
          <p:nvPr/>
        </p:nvSpPr>
        <p:spPr>
          <a:xfrm>
            <a:off x="789272" y="1039480"/>
            <a:ext cx="4619490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 dirty="0">
                <a:solidFill>
                  <a:schemeClr val="bg1"/>
                </a:solidFill>
                <a:effectLst/>
                <a:latin typeface="+mj-lt"/>
              </a:rPr>
              <a:t>Model Selec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A220A54-6CA9-0E0B-DF1B-E0F3CCF2F6C8}"/>
              </a:ext>
            </a:extLst>
          </p:cNvPr>
          <p:cNvSpPr/>
          <p:nvPr/>
        </p:nvSpPr>
        <p:spPr>
          <a:xfrm>
            <a:off x="5500362" y="1039480"/>
            <a:ext cx="6155831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 dirty="0">
                <a:solidFill>
                  <a:schemeClr val="bg1"/>
                </a:solidFill>
                <a:effectLst/>
                <a:latin typeface="+mj-lt"/>
              </a:rPr>
              <a:t>Model Architectur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B704CF7-7711-BDAA-0FCE-AB0C79FB5D68}"/>
              </a:ext>
            </a:extLst>
          </p:cNvPr>
          <p:cNvSpPr/>
          <p:nvPr/>
        </p:nvSpPr>
        <p:spPr>
          <a:xfrm>
            <a:off x="789271" y="1475495"/>
            <a:ext cx="4619489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Siamese Networks: </a:t>
            </a:r>
            <a:r>
              <a:rPr lang="en-US" sz="1600" b="1" dirty="0">
                <a:solidFill>
                  <a:schemeClr val="tx1"/>
                </a:solidFill>
              </a:rPr>
              <a:t>Selected for similarity learning to encode input data into a shared embedding space, effectively identifying relationships by comparing feature vectors of paired inputs.</a:t>
            </a:r>
            <a:endParaRPr lang="en-US" sz="1600" b="1" dirty="0">
              <a:solidFill>
                <a:schemeClr val="tx1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tx1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Integrated Retrieval-Augmented Generation (RAG) with LLMs for explainability: </a:t>
            </a:r>
            <a:r>
              <a:rPr lang="en-US" sz="1600" b="1" dirty="0">
                <a:solidFill>
                  <a:schemeClr val="tx1"/>
                </a:solidFill>
              </a:rPr>
              <a:t>Combines retrieval of external knowledge with language models to generate context-aware responses, improving transparency and providing clear explanations for predictions.</a:t>
            </a:r>
            <a:endParaRPr lang="en-US" sz="16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2CE8B7-1883-1BEF-8E14-E7383DEE4813}"/>
              </a:ext>
            </a:extLst>
          </p:cNvPr>
          <p:cNvSpPr/>
          <p:nvPr/>
        </p:nvSpPr>
        <p:spPr>
          <a:xfrm>
            <a:off x="5500362" y="1475495"/>
            <a:ext cx="6155832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600" b="1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FAB829E-D372-E751-A484-831FA7E389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7882" y="1475495"/>
            <a:ext cx="4880789" cy="434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821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490031-B3E3-6358-6540-F983BDCF2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0854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490031-B3E3-6358-6540-F983BDCF2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6BC55D8-5564-B98F-28DD-2DC4FC83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6"/>
            <a:ext cx="8800419" cy="449310"/>
          </a:xfrm>
        </p:spPr>
        <p:txBody>
          <a:bodyPr vert="horz"/>
          <a:lstStyle/>
          <a:p>
            <a:r>
              <a:rPr lang="en-IN" dirty="0"/>
              <a:t>Model Training &amp; Evaluation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F2065-909E-28E4-AC11-076FD4E07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5</a:t>
            </a:fld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BF64383-AE39-1B43-9006-E7F891B2B5AE}"/>
              </a:ext>
            </a:extLst>
          </p:cNvPr>
          <p:cNvSpPr/>
          <p:nvPr/>
        </p:nvSpPr>
        <p:spPr>
          <a:xfrm>
            <a:off x="789271" y="1039480"/>
            <a:ext cx="10876547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 dirty="0">
                <a:solidFill>
                  <a:schemeClr val="bg1"/>
                </a:solidFill>
                <a:effectLst/>
                <a:latin typeface="+mj-lt"/>
              </a:rPr>
              <a:t>Evaluation Metric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B704CF7-7711-BDAA-0FCE-AB0C79FB5D68}"/>
              </a:ext>
            </a:extLst>
          </p:cNvPr>
          <p:cNvSpPr/>
          <p:nvPr/>
        </p:nvSpPr>
        <p:spPr>
          <a:xfrm>
            <a:off x="789271" y="1503555"/>
            <a:ext cx="10876547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b="1" dirty="0">
                <a:solidFill>
                  <a:srgbClr val="002068"/>
                </a:solidFill>
                <a:latin typeface="+mj-lt"/>
              </a:rPr>
              <a:t>Model Training Process:</a:t>
            </a:r>
          </a:p>
          <a:p>
            <a:endParaRPr lang="en-US" sz="2000" b="1" dirty="0">
              <a:solidFill>
                <a:srgbClr val="002068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460A9"/>
                </a:solidFill>
                <a:latin typeface="+mj-lt"/>
              </a:rPr>
              <a:t>Loss Function: The model is trained using </a:t>
            </a:r>
            <a:r>
              <a:rPr lang="en-US" sz="1600" b="1" u="sng" dirty="0">
                <a:solidFill>
                  <a:srgbClr val="0460A9"/>
                </a:solidFill>
                <a:latin typeface="+mj-lt"/>
              </a:rPr>
              <a:t>Contrastive Loss</a:t>
            </a:r>
            <a:r>
              <a:rPr lang="en-US" sz="1600" b="1" dirty="0">
                <a:solidFill>
                  <a:srgbClr val="0460A9"/>
                </a:solidFill>
                <a:latin typeface="+mj-lt"/>
              </a:rPr>
              <a:t>, which is designed for learning representations that capture similarity and dissimilarity</a:t>
            </a:r>
            <a:r>
              <a:rPr lang="en-US" sz="1600" dirty="0">
                <a:solidFill>
                  <a:srgbClr val="0460A9"/>
                </a:solidFill>
                <a:latin typeface="+mj-lt"/>
              </a:rPr>
              <a:t>.</a:t>
            </a:r>
            <a:r>
              <a:rPr lang="en-US" sz="1600" b="1" dirty="0">
                <a:solidFill>
                  <a:srgbClr val="0460A9"/>
                </a:solidFill>
                <a:latin typeface="+mj-lt"/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460A9"/>
                </a:solidFill>
              </a:rPr>
              <a:t>Optimizer: The </a:t>
            </a:r>
            <a:r>
              <a:rPr lang="en-US" sz="1600" b="1" u="sng" dirty="0">
                <a:solidFill>
                  <a:srgbClr val="0460A9"/>
                </a:solidFill>
              </a:rPr>
              <a:t>Adam optimizer</a:t>
            </a:r>
            <a:r>
              <a:rPr lang="en-US" sz="1600" b="1" dirty="0">
                <a:solidFill>
                  <a:srgbClr val="0460A9"/>
                </a:solidFill>
              </a:rPr>
              <a:t> is employed for efficient gradient-based parameter updat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460A9"/>
                </a:solidFill>
              </a:rPr>
              <a:t>Learning Rate Scheduling: A </a:t>
            </a:r>
            <a:r>
              <a:rPr lang="en-US" sz="1600" b="1" u="sng" dirty="0">
                <a:solidFill>
                  <a:srgbClr val="0460A9"/>
                </a:solidFill>
              </a:rPr>
              <a:t>learning rate scheduler</a:t>
            </a:r>
            <a:r>
              <a:rPr lang="en-US" sz="1600" b="1" dirty="0">
                <a:solidFill>
                  <a:srgbClr val="0460A9"/>
                </a:solidFill>
              </a:rPr>
              <a:t> adjusts the learning rate dynamically to enhance training convergence and avoid local minima.</a:t>
            </a:r>
            <a:endParaRPr lang="en-US" sz="1600" b="1" dirty="0">
              <a:solidFill>
                <a:srgbClr val="0460A9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1" dirty="0">
              <a:solidFill>
                <a:schemeClr val="tx1"/>
              </a:solidFill>
              <a:latin typeface="+mj-lt"/>
            </a:endParaRPr>
          </a:p>
          <a:p>
            <a:r>
              <a:rPr lang="en-US" sz="2000" b="1" dirty="0">
                <a:solidFill>
                  <a:srgbClr val="002068"/>
                </a:solidFill>
                <a:latin typeface="+mj-lt"/>
              </a:rPr>
              <a:t>Evaluation Metrics:   </a:t>
            </a:r>
          </a:p>
          <a:p>
            <a:r>
              <a:rPr lang="en-US" sz="2000" b="1" dirty="0">
                <a:solidFill>
                  <a:srgbClr val="002068"/>
                </a:solidFill>
                <a:latin typeface="+mj-lt"/>
              </a:rPr>
              <a:t> </a:t>
            </a:r>
            <a:endParaRPr lang="en-US" sz="1600" b="1" dirty="0">
              <a:solidFill>
                <a:srgbClr val="0460A9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b="1" dirty="0" err="1">
                <a:solidFill>
                  <a:srgbClr val="0460A9"/>
                </a:solidFill>
              </a:rPr>
              <a:t>Precision@k</a:t>
            </a:r>
            <a:r>
              <a:rPr lang="en-US" sz="1600" b="1" dirty="0">
                <a:solidFill>
                  <a:srgbClr val="0460A9"/>
                </a:solidFill>
              </a:rPr>
              <a:t>: Measures the proportion of relevant items retrieved within the top-k resul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b="1" dirty="0" err="1">
                <a:solidFill>
                  <a:srgbClr val="0460A9"/>
                </a:solidFill>
              </a:rPr>
              <a:t>Recall@k</a:t>
            </a:r>
            <a:r>
              <a:rPr lang="en-US" sz="1600" b="1" dirty="0">
                <a:solidFill>
                  <a:srgbClr val="0460A9"/>
                </a:solidFill>
              </a:rPr>
              <a:t>: Evaluates the ability of the model to retrieve all relevant items within the top-k resul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460A9"/>
                </a:solidFill>
              </a:rPr>
              <a:t>Mean Average Precision (MAP): Assesses ranking quality by averaging precision across recall levels for all queries.</a:t>
            </a:r>
            <a:endParaRPr lang="en-US" sz="1600" b="1" dirty="0">
              <a:solidFill>
                <a:srgbClr val="0460A9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693193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490031-B3E3-6358-6540-F983BDCF2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6831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490031-B3E3-6358-6540-F983BDCF2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6BC55D8-5564-B98F-28DD-2DC4FC83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7"/>
            <a:ext cx="8800419" cy="468560"/>
          </a:xfrm>
        </p:spPr>
        <p:txBody>
          <a:bodyPr vert="horz"/>
          <a:lstStyle/>
          <a:p>
            <a:r>
              <a:rPr lang="en-IN" dirty="0"/>
              <a:t>Results and visualization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F2065-909E-28E4-AC11-076FD4E07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6</a:t>
            </a:fld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BF64383-AE39-1B43-9006-E7F891B2B5AE}"/>
              </a:ext>
            </a:extLst>
          </p:cNvPr>
          <p:cNvSpPr/>
          <p:nvPr/>
        </p:nvSpPr>
        <p:spPr>
          <a:xfrm>
            <a:off x="789271" y="1039480"/>
            <a:ext cx="5306729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 dirty="0">
                <a:solidFill>
                  <a:schemeClr val="bg1"/>
                </a:solidFill>
                <a:effectLst/>
                <a:latin typeface="+mj-lt"/>
              </a:rPr>
              <a:t>Model Outcom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7D7CD1E-CA56-3686-38C7-D754BE40282D}"/>
              </a:ext>
            </a:extLst>
          </p:cNvPr>
          <p:cNvSpPr/>
          <p:nvPr/>
        </p:nvSpPr>
        <p:spPr>
          <a:xfrm>
            <a:off x="6275672" y="1039480"/>
            <a:ext cx="5264641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 dirty="0">
                <a:solidFill>
                  <a:schemeClr val="bg1"/>
                </a:solidFill>
                <a:effectLst/>
                <a:latin typeface="+mj-lt"/>
              </a:rPr>
              <a:t>Explainabilit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B704CF7-7711-BDAA-0FCE-AB0C79FB5D68}"/>
              </a:ext>
            </a:extLst>
          </p:cNvPr>
          <p:cNvSpPr/>
          <p:nvPr/>
        </p:nvSpPr>
        <p:spPr>
          <a:xfrm>
            <a:off x="789271" y="1475495"/>
            <a:ext cx="5306729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The model demonstrated strong ranking performance with a Mean Average Precision (MAP) of 0.85, indicating high accuracy across multiple recall levels. A Precision@10 score of 0.90 reflects its ability to consistently retrieve 90% relevant results within the top 10 recommendation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tx1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The system surpassed traditional keyword-based retrieval approaches by a significant margin, improving both relevance and ranking accuracy by 20%. This highlights the effectiveness of advanced similarity learning and retrieval-augmented techniques in delivering superior results.</a:t>
            </a:r>
            <a:endParaRPr lang="en-US" sz="16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F5E820E-C25A-11F9-9F4C-DFEC1E322ECB}"/>
              </a:ext>
            </a:extLst>
          </p:cNvPr>
          <p:cNvSpPr/>
          <p:nvPr/>
        </p:nvSpPr>
        <p:spPr>
          <a:xfrm>
            <a:off x="6275672" y="1475495"/>
            <a:ext cx="5264641" cy="8967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Used SHAP to highlight key features influencing similarity. 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  <a:latin typeface="+mj-lt"/>
              </a:rPr>
              <a:t>Generated contextual explanations via RAG.</a:t>
            </a:r>
            <a:endParaRPr lang="en-US" sz="1600" b="1" i="0" dirty="0"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D04259F-243E-F570-B37F-71F9874F279E}"/>
              </a:ext>
            </a:extLst>
          </p:cNvPr>
          <p:cNvSpPr/>
          <p:nvPr/>
        </p:nvSpPr>
        <p:spPr>
          <a:xfrm>
            <a:off x="6275671" y="2442469"/>
            <a:ext cx="5264641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 dirty="0">
                <a:solidFill>
                  <a:schemeClr val="bg1"/>
                </a:solidFill>
                <a:effectLst/>
                <a:latin typeface="+mj-lt"/>
              </a:rPr>
              <a:t>Visual Aid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658363A-74DA-3ECF-5A88-9140489212B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5671" y="2878484"/>
            <a:ext cx="5256048" cy="3101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5242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490031-B3E3-6358-6540-F983BDCF2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6107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490031-B3E3-6358-6540-F983BDCF2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6BC55D8-5564-B98F-28DD-2DC4FC83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7"/>
            <a:ext cx="8800419" cy="468560"/>
          </a:xfrm>
        </p:spPr>
        <p:txBody>
          <a:bodyPr vert="horz"/>
          <a:lstStyle/>
          <a:p>
            <a:r>
              <a:rPr lang="en-IN" dirty="0"/>
              <a:t>Challenges &amp; Next Step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F2065-909E-28E4-AC11-076FD4E07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7</a:t>
            </a:fld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BF64383-AE39-1B43-9006-E7F891B2B5AE}"/>
              </a:ext>
            </a:extLst>
          </p:cNvPr>
          <p:cNvSpPr/>
          <p:nvPr/>
        </p:nvSpPr>
        <p:spPr>
          <a:xfrm>
            <a:off x="789271" y="1039480"/>
            <a:ext cx="5306729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 dirty="0">
                <a:solidFill>
                  <a:schemeClr val="bg1"/>
                </a:solidFill>
                <a:effectLst/>
                <a:latin typeface="+mj-lt"/>
              </a:rPr>
              <a:t>Challeng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A220A54-6CA9-0E0B-DF1B-E0F3CCF2F6C8}"/>
              </a:ext>
            </a:extLst>
          </p:cNvPr>
          <p:cNvSpPr/>
          <p:nvPr/>
        </p:nvSpPr>
        <p:spPr>
          <a:xfrm>
            <a:off x="6275673" y="1039480"/>
            <a:ext cx="5428648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 dirty="0">
                <a:solidFill>
                  <a:schemeClr val="bg1"/>
                </a:solidFill>
                <a:effectLst/>
                <a:latin typeface="+mj-lt"/>
              </a:rPr>
              <a:t>Next Step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B704CF7-7711-BDAA-0FCE-AB0C79FB5D68}"/>
              </a:ext>
            </a:extLst>
          </p:cNvPr>
          <p:cNvSpPr/>
          <p:nvPr/>
        </p:nvSpPr>
        <p:spPr>
          <a:xfrm>
            <a:off x="789271" y="1475495"/>
            <a:ext cx="5306729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Dealing with inconsistencies and missing values in the trial dataset requires robust preprocessing techniques to ensure reliable model training and accurate prediction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tx1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Maintaining high retrieval accuracy while optimizing computational resources poses a challenge, especially for large-scale datasets and real-time applications.</a:t>
            </a:r>
            <a:endParaRPr lang="en-US" sz="16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2CE8B7-1883-1BEF-8E14-E7383DEE4813}"/>
              </a:ext>
            </a:extLst>
          </p:cNvPr>
          <p:cNvSpPr/>
          <p:nvPr/>
        </p:nvSpPr>
        <p:spPr>
          <a:xfrm>
            <a:off x="6275673" y="1475495"/>
            <a:ext cx="5428648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Expand the dataset to include diverse and domain-specific examples while fine-tuning the model to address nuances unique to particular field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b="1" i="0" dirty="0">
              <a:solidFill>
                <a:schemeClr val="tx1"/>
              </a:solidFill>
              <a:effectLst/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Create an intuitive, efficient interface to enable researchers to query the system in real-time, ensuring seamless integration into their workflows.</a:t>
            </a:r>
            <a:endParaRPr lang="en-IN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0486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4B4175-D6CC-60BE-ECED-A1E2FF4553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43302C1-80C6-8C5E-B8F4-88A7EB7760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4783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3302C1-80C6-8C5E-B8F4-88A7EB7760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0AFD6DE8-B484-9EB7-545F-6F5DB9F609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vert="horz"/>
          <a:lstStyle/>
          <a:p>
            <a:r>
              <a:rPr lang="en-GB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2257186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vartis | Reimagining Medicine">
  <a:themeElements>
    <a:clrScheme name="Novartis RM">
      <a:dk1>
        <a:srgbClr val="000000"/>
      </a:dk1>
      <a:lt1>
        <a:srgbClr val="FFFFFF"/>
      </a:lt1>
      <a:dk2>
        <a:srgbClr val="002068"/>
      </a:dk2>
      <a:lt2>
        <a:srgbClr val="FFFFFF"/>
      </a:lt2>
      <a:accent1>
        <a:srgbClr val="002068"/>
      </a:accent1>
      <a:accent2>
        <a:srgbClr val="FF585D"/>
      </a:accent2>
      <a:accent3>
        <a:srgbClr val="FFC100"/>
      </a:accent3>
      <a:accent4>
        <a:srgbClr val="A7A8AA"/>
      </a:accent4>
      <a:accent5>
        <a:srgbClr val="D0D0D0"/>
      </a:accent5>
      <a:accent6>
        <a:srgbClr val="0460A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rgbClr val="0460A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vartis_PPT_16x9_Novartis_RMLogo" id="{C353A3A0-42CC-AA49-BF2F-196522F2CE06}" vid="{FA420423-A994-E54B-8A1E-034C61B1BE9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33</TotalTime>
  <Words>643</Words>
  <Application>Microsoft Office PowerPoint</Application>
  <PresentationFormat>Widescreen</PresentationFormat>
  <Paragraphs>66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Arial Black</vt:lpstr>
      <vt:lpstr>Arial(Heading)</vt:lpstr>
      <vt:lpstr>Calibri</vt:lpstr>
      <vt:lpstr>Ping LCG Medium</vt:lpstr>
      <vt:lpstr>Novartis | Reimagining Medicine</vt:lpstr>
      <vt:lpstr>think-cell Slide</vt:lpstr>
      <vt:lpstr>NEST  Nurturing Excellence, Strengthening Talent.   ABSTRACT SUBMISSION GUIDELINES</vt:lpstr>
      <vt:lpstr>Problem Statement – #1</vt:lpstr>
      <vt:lpstr>Approach &amp; methodology</vt:lpstr>
      <vt:lpstr>Model choice &amp; setup</vt:lpstr>
      <vt:lpstr>Model Training &amp; Evaluation</vt:lpstr>
      <vt:lpstr>Results and visualization</vt:lpstr>
      <vt:lpstr>Challenges &amp; Next Steps</vt:lpstr>
      <vt:lpstr>Thank you!</vt:lpstr>
    </vt:vector>
  </TitlesOfParts>
  <Company>Novartis Pharma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lakar, Himadri</dc:creator>
  <cp:lastModifiedBy>ayush verma</cp:lastModifiedBy>
  <cp:revision>11</cp:revision>
  <dcterms:created xsi:type="dcterms:W3CDTF">2024-12-05T15:21:13Z</dcterms:created>
  <dcterms:modified xsi:type="dcterms:W3CDTF">2025-01-05T13:25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c9bec58-8084-492e-8360-0e1cfe36408c_Enabled">
    <vt:lpwstr>true</vt:lpwstr>
  </property>
  <property fmtid="{D5CDD505-2E9C-101B-9397-08002B2CF9AE}" pid="3" name="MSIP_Label_3c9bec58-8084-492e-8360-0e1cfe36408c_SetDate">
    <vt:lpwstr>2023-10-12T11:34:02Z</vt:lpwstr>
  </property>
  <property fmtid="{D5CDD505-2E9C-101B-9397-08002B2CF9AE}" pid="4" name="MSIP_Label_3c9bec58-8084-492e-8360-0e1cfe36408c_Method">
    <vt:lpwstr>Standard</vt:lpwstr>
  </property>
  <property fmtid="{D5CDD505-2E9C-101B-9397-08002B2CF9AE}" pid="5" name="MSIP_Label_3c9bec58-8084-492e-8360-0e1cfe36408c_Name">
    <vt:lpwstr>Not Protected -Pilot</vt:lpwstr>
  </property>
  <property fmtid="{D5CDD505-2E9C-101B-9397-08002B2CF9AE}" pid="6" name="MSIP_Label_3c9bec58-8084-492e-8360-0e1cfe36408c_SiteId">
    <vt:lpwstr>f35a6974-607f-47d4-82d7-ff31d7dc53a5</vt:lpwstr>
  </property>
  <property fmtid="{D5CDD505-2E9C-101B-9397-08002B2CF9AE}" pid="7" name="MSIP_Label_3c9bec58-8084-492e-8360-0e1cfe36408c_ActionId">
    <vt:lpwstr>9929b886-7866-4465-9bf7-3a0ab3cdd5a5</vt:lpwstr>
  </property>
  <property fmtid="{D5CDD505-2E9C-101B-9397-08002B2CF9AE}" pid="8" name="MSIP_Label_3c9bec58-8084-492e-8360-0e1cfe36408c_ContentBits">
    <vt:lpwstr>0</vt:lpwstr>
  </property>
  <property fmtid="{D5CDD505-2E9C-101B-9397-08002B2CF9AE}" pid="9" name="MSIP_Label_8e19d756-792e-42a1-bcad-4cb9051ddd2d_Enabled">
    <vt:lpwstr>true</vt:lpwstr>
  </property>
  <property fmtid="{D5CDD505-2E9C-101B-9397-08002B2CF9AE}" pid="10" name="MSIP_Label_8e19d756-792e-42a1-bcad-4cb9051ddd2d_SetDate">
    <vt:lpwstr>2024-10-16T12:55:38Z</vt:lpwstr>
  </property>
  <property fmtid="{D5CDD505-2E9C-101B-9397-08002B2CF9AE}" pid="11" name="MSIP_Label_8e19d756-792e-42a1-bcad-4cb9051ddd2d_Method">
    <vt:lpwstr>Standard</vt:lpwstr>
  </property>
  <property fmtid="{D5CDD505-2E9C-101B-9397-08002B2CF9AE}" pid="12" name="MSIP_Label_8e19d756-792e-42a1-bcad-4cb9051ddd2d_Name">
    <vt:lpwstr>Confidential</vt:lpwstr>
  </property>
  <property fmtid="{D5CDD505-2E9C-101B-9397-08002B2CF9AE}" pid="13" name="MSIP_Label_8e19d756-792e-42a1-bcad-4cb9051ddd2d_SiteId">
    <vt:lpwstr>41eb501a-f671-4ce0-a5bf-b64168c3705f</vt:lpwstr>
  </property>
  <property fmtid="{D5CDD505-2E9C-101B-9397-08002B2CF9AE}" pid="14" name="MSIP_Label_8e19d756-792e-42a1-bcad-4cb9051ddd2d_ActionId">
    <vt:lpwstr>8ce6efed-055a-4528-961b-9daa01880ba6</vt:lpwstr>
  </property>
  <property fmtid="{D5CDD505-2E9C-101B-9397-08002B2CF9AE}" pid="15" name="MSIP_Label_8e19d756-792e-42a1-bcad-4cb9051ddd2d_ContentBits">
    <vt:lpwstr>2</vt:lpwstr>
  </property>
  <property fmtid="{D5CDD505-2E9C-101B-9397-08002B2CF9AE}" pid="16" name="ClassificationContentMarkingFooterLocations">
    <vt:lpwstr>Novartis | Reimagining Medicine:7</vt:lpwstr>
  </property>
  <property fmtid="{D5CDD505-2E9C-101B-9397-08002B2CF9AE}" pid="17" name="ClassificationContentMarkingFooterText">
    <vt:lpwstr>Confidential - Not for Public Consumption or Distribution</vt:lpwstr>
  </property>
</Properties>
</file>